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6"/>
  </p:notesMasterIdLst>
  <p:sldIdLst>
    <p:sldId id="295" r:id="rId5"/>
    <p:sldId id="309" r:id="rId6"/>
    <p:sldId id="314" r:id="rId7"/>
    <p:sldId id="698" r:id="rId8"/>
    <p:sldId id="315" r:id="rId9"/>
    <p:sldId id="717" r:id="rId10"/>
    <p:sldId id="425" r:id="rId11"/>
    <p:sldId id="689" r:id="rId12"/>
    <p:sldId id="282" r:id="rId13"/>
    <p:sldId id="686" r:id="rId14"/>
    <p:sldId id="699" r:id="rId15"/>
  </p:sldIdLst>
  <p:sldSz cx="9144000" cy="6858000" type="screen4x3"/>
  <p:notesSz cx="6858000" cy="9144000"/>
  <p:custDataLst>
    <p:tags r:id="rId17"/>
  </p:custDataLst>
  <p:defaultTextStyle>
    <a:defPPr marL="0" marR="0" indent="0" algn="l" defTabSz="64291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266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1pPr>
    <a:lvl2pPr marL="0" marR="0" indent="1607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2pPr>
    <a:lvl3pPr marL="0" marR="0" indent="321457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3pPr>
    <a:lvl4pPr marL="0" marR="0" indent="482186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4pPr>
    <a:lvl5pPr marL="0" marR="0" indent="642915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5pPr>
    <a:lvl6pPr marL="0" marR="0" indent="803643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6pPr>
    <a:lvl7pPr marL="0" marR="0" indent="964372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7pPr>
    <a:lvl8pPr marL="0" marR="0" indent="1125101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8pPr>
    <a:lvl9pPr marL="0" marR="0" indent="12858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6B6B"/>
    <a:srgbClr val="C0C4C6"/>
    <a:srgbClr val="00BEB4"/>
    <a:srgbClr val="5E5E5E"/>
    <a:srgbClr val="D9D9D9"/>
    <a:srgbClr val="002060"/>
    <a:srgbClr val="CFD8DC"/>
    <a:srgbClr val="37474F"/>
    <a:srgbClr val="55BBB3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AC1B88-CF42-333D-CE5E-4B0F60AF557C}" v="2" dt="2024-08-26T00:26:20.670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545" autoAdjust="0"/>
    <p:restoredTop sz="94660"/>
  </p:normalViewPr>
  <p:slideViewPr>
    <p:cSldViewPr snapToGrid="0">
      <p:cViewPr varScale="1">
        <p:scale>
          <a:sx n="85" d="100"/>
          <a:sy n="85" d="100"/>
        </p:scale>
        <p:origin x="188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高橋 智則" userId="14439484-ad95-46cf-bbcc-1b897d491504" providerId="ADAL" clId="{166EB432-8742-4B38-91DA-AA3E7BD11B56}"/>
    <pc:docChg chg="modSld">
      <pc:chgData name="高橋 智則" userId="14439484-ad95-46cf-bbcc-1b897d491504" providerId="ADAL" clId="{166EB432-8742-4B38-91DA-AA3E7BD11B56}" dt="2024-07-16T07:21:25.472" v="19" actId="6549"/>
      <pc:docMkLst>
        <pc:docMk/>
      </pc:docMkLst>
      <pc:sldChg chg="modSp mod">
        <pc:chgData name="高橋 智則" userId="14439484-ad95-46cf-bbcc-1b897d491504" providerId="ADAL" clId="{166EB432-8742-4B38-91DA-AA3E7BD11B56}" dt="2024-07-16T07:21:25.472" v="19" actId="6549"/>
        <pc:sldMkLst>
          <pc:docMk/>
          <pc:sldMk cId="1345041181" sldId="707"/>
        </pc:sldMkLst>
        <pc:spChg chg="mod">
          <ac:chgData name="高橋 智則" userId="14439484-ad95-46cf-bbcc-1b897d491504" providerId="ADAL" clId="{166EB432-8742-4B38-91DA-AA3E7BD11B56}" dt="2024-07-16T07:21:25.472" v="19" actId="6549"/>
          <ac:spMkLst>
            <pc:docMk/>
            <pc:sldMk cId="1345041181" sldId="707"/>
            <ac:spMk id="16" creationId="{00000000-0000-0000-0000-000000000000}"/>
          </ac:spMkLst>
        </pc:spChg>
      </pc:sldChg>
    </pc:docChg>
  </pc:docChgLst>
  <pc:docChgLst>
    <pc:chgData name="末吉 威吹" userId="583ae44d-5db9-4c6c-a82a-2f783ef66207" providerId="ADAL" clId="{5C4462B8-3395-45F9-BCBD-0F4C065C2202}"/>
    <pc:docChg chg="modSld">
      <pc:chgData name="末吉 威吹" userId="583ae44d-5db9-4c6c-a82a-2f783ef66207" providerId="ADAL" clId="{5C4462B8-3395-45F9-BCBD-0F4C065C2202}" dt="2024-07-09T06:04:11.086" v="0" actId="20577"/>
      <pc:docMkLst>
        <pc:docMk/>
      </pc:docMkLst>
      <pc:sldChg chg="modSp mod">
        <pc:chgData name="末吉 威吹" userId="583ae44d-5db9-4c6c-a82a-2f783ef66207" providerId="ADAL" clId="{5C4462B8-3395-45F9-BCBD-0F4C065C2202}" dt="2024-07-09T06:04:11.086" v="0" actId="20577"/>
        <pc:sldMkLst>
          <pc:docMk/>
          <pc:sldMk cId="2418542141" sldId="425"/>
        </pc:sldMkLst>
        <pc:spChg chg="mod">
          <ac:chgData name="末吉 威吹" userId="583ae44d-5db9-4c6c-a82a-2f783ef66207" providerId="ADAL" clId="{5C4462B8-3395-45F9-BCBD-0F4C065C2202}" dt="2024-07-09T06:04:11.086" v="0" actId="20577"/>
          <ac:spMkLst>
            <pc:docMk/>
            <pc:sldMk cId="2418542141" sldId="425"/>
            <ac:spMk id="22" creationId="{7E0B11BE-2489-4D90-B037-107137AD4A8A}"/>
          </ac:spMkLst>
        </pc:spChg>
      </pc:sldChg>
    </pc:docChg>
  </pc:docChgLst>
  <pc:docChgLst>
    <pc:chgData name="青木 萌百" userId="S::aokimomo@r.recruit.co.jp::b1fbb345-35ba-4afb-a6c5-7071621ee6b7" providerId="AD" clId="Web-{A7BF1551-70B4-225F-030D-3D122D1FF6DF}"/>
    <pc:docChg chg="addSld delSld modSld">
      <pc:chgData name="青木 萌百" userId="S::aokimomo@r.recruit.co.jp::b1fbb345-35ba-4afb-a6c5-7071621ee6b7" providerId="AD" clId="Web-{A7BF1551-70B4-225F-030D-3D122D1FF6DF}" dt="2024-08-02T09:51:53.442" v="48" actId="20577"/>
      <pc:docMkLst>
        <pc:docMk/>
      </pc:docMkLst>
      <pc:sldChg chg="modSp">
        <pc:chgData name="青木 萌百" userId="S::aokimomo@r.recruit.co.jp::b1fbb345-35ba-4afb-a6c5-7071621ee6b7" providerId="AD" clId="Web-{A7BF1551-70B4-225F-030D-3D122D1FF6DF}" dt="2024-08-02T09:41:00.963" v="19" actId="20577"/>
        <pc:sldMkLst>
          <pc:docMk/>
          <pc:sldMk cId="942853360" sldId="282"/>
        </pc:sldMkLst>
        <pc:spChg chg="mod">
          <ac:chgData name="青木 萌百" userId="S::aokimomo@r.recruit.co.jp::b1fbb345-35ba-4afb-a6c5-7071621ee6b7" providerId="AD" clId="Web-{A7BF1551-70B4-225F-030D-3D122D1FF6DF}" dt="2024-08-02T09:41:00.963" v="19" actId="20577"/>
          <ac:spMkLst>
            <pc:docMk/>
            <pc:sldMk cId="942853360" sldId="282"/>
            <ac:spMk id="61" creationId="{00000000-0000-0000-0000-000000000000}"/>
          </ac:spMkLst>
        </pc:spChg>
      </pc:sldChg>
      <pc:sldChg chg="del">
        <pc:chgData name="青木 萌百" userId="S::aokimomo@r.recruit.co.jp::b1fbb345-35ba-4afb-a6c5-7071621ee6b7" providerId="AD" clId="Web-{A7BF1551-70B4-225F-030D-3D122D1FF6DF}" dt="2024-08-02T09:41:47.621" v="20"/>
        <pc:sldMkLst>
          <pc:docMk/>
          <pc:sldMk cId="295099381" sldId="329"/>
        </pc:sldMkLst>
      </pc:sldChg>
      <pc:sldChg chg="addSp delSp modSp add replId">
        <pc:chgData name="青木 萌百" userId="S::aokimomo@r.recruit.co.jp::b1fbb345-35ba-4afb-a6c5-7071621ee6b7" providerId="AD" clId="Web-{A7BF1551-70B4-225F-030D-3D122D1FF6DF}" dt="2024-08-02T09:51:53.442" v="48" actId="20577"/>
        <pc:sldMkLst>
          <pc:docMk/>
          <pc:sldMk cId="2905884189" sldId="699"/>
        </pc:sldMkLst>
        <pc:spChg chg="mod">
          <ac:chgData name="青木 萌百" userId="S::aokimomo@r.recruit.co.jp::b1fbb345-35ba-4afb-a6c5-7071621ee6b7" providerId="AD" clId="Web-{A7BF1551-70B4-225F-030D-3D122D1FF6DF}" dt="2024-08-02T09:51:53.442" v="48" actId="20577"/>
          <ac:spMkLst>
            <pc:docMk/>
            <pc:sldMk cId="2905884189" sldId="699"/>
            <ac:spMk id="2" creationId="{99247628-DA5D-4908-96A7-29DF0B0B0F7B}"/>
          </ac:spMkLst>
        </pc:spChg>
        <pc:picChg chg="add del mod">
          <ac:chgData name="青木 萌百" userId="S::aokimomo@r.recruit.co.jp::b1fbb345-35ba-4afb-a6c5-7071621ee6b7" providerId="AD" clId="Web-{A7BF1551-70B4-225F-030D-3D122D1FF6DF}" dt="2024-08-02T09:49:13.701" v="38"/>
          <ac:picMkLst>
            <pc:docMk/>
            <pc:sldMk cId="2905884189" sldId="699"/>
            <ac:picMk id="3" creationId="{E339C163-67A7-42FC-B306-8F93BEA33298}"/>
          </ac:picMkLst>
        </pc:picChg>
        <pc:picChg chg="add del">
          <ac:chgData name="青木 萌百" userId="S::aokimomo@r.recruit.co.jp::b1fbb345-35ba-4afb-a6c5-7071621ee6b7" providerId="AD" clId="Web-{A7BF1551-70B4-225F-030D-3D122D1FF6DF}" dt="2024-08-02T09:49:55.797" v="40"/>
          <ac:picMkLst>
            <pc:docMk/>
            <pc:sldMk cId="2905884189" sldId="699"/>
            <ac:picMk id="4" creationId="{39F7D12A-BBC4-4D48-94C4-ADE2EAB6F0D3}"/>
          </ac:picMkLst>
        </pc:picChg>
        <pc:picChg chg="add del">
          <ac:chgData name="青木 萌百" userId="S::aokimomo@r.recruit.co.jp::b1fbb345-35ba-4afb-a6c5-7071621ee6b7" providerId="AD" clId="Web-{A7BF1551-70B4-225F-030D-3D122D1FF6DF}" dt="2024-08-02T09:50:18.657" v="42"/>
          <ac:picMkLst>
            <pc:docMk/>
            <pc:sldMk cId="2905884189" sldId="699"/>
            <ac:picMk id="5" creationId="{D5DFE2C2-395E-DD0B-795E-2400DFF0F032}"/>
          </ac:picMkLst>
        </pc:picChg>
      </pc:sldChg>
      <pc:sldChg chg="del">
        <pc:chgData name="青木 萌百" userId="S::aokimomo@r.recruit.co.jp::b1fbb345-35ba-4afb-a6c5-7071621ee6b7" providerId="AD" clId="Web-{A7BF1551-70B4-225F-030D-3D122D1FF6DF}" dt="2024-08-02T09:42:52.186" v="21"/>
        <pc:sldMkLst>
          <pc:docMk/>
          <pc:sldMk cId="3668821284" sldId="701"/>
        </pc:sldMkLst>
      </pc:sldChg>
      <pc:sldChg chg="del">
        <pc:chgData name="青木 萌百" userId="S::aokimomo@r.recruit.co.jp::b1fbb345-35ba-4afb-a6c5-7071621ee6b7" providerId="AD" clId="Web-{A7BF1551-70B4-225F-030D-3D122D1FF6DF}" dt="2024-08-02T09:42:53.342" v="22"/>
        <pc:sldMkLst>
          <pc:docMk/>
          <pc:sldMk cId="2354498556" sldId="715"/>
        </pc:sldMkLst>
      </pc:sldChg>
    </pc:docChg>
  </pc:docChgLst>
  <pc:docChgLst>
    <pc:chgData name="青木 萌百" userId="S::aokimomo@r.recruit.co.jp::b1fbb345-35ba-4afb-a6c5-7071621ee6b7" providerId="AD" clId="Web-{BC20002A-DD50-A4DB-6E49-7A93E5E7CEB5}"/>
    <pc:docChg chg="addSld delSld modSld sldOrd">
      <pc:chgData name="青木 萌百" userId="S::aokimomo@r.recruit.co.jp::b1fbb345-35ba-4afb-a6c5-7071621ee6b7" providerId="AD" clId="Web-{BC20002A-DD50-A4DB-6E49-7A93E5E7CEB5}" dt="2024-08-01T13:00:41.415" v="778"/>
      <pc:docMkLst>
        <pc:docMk/>
      </pc:docMkLst>
      <pc:sldChg chg="del">
        <pc:chgData name="青木 萌百" userId="S::aokimomo@r.recruit.co.jp::b1fbb345-35ba-4afb-a6c5-7071621ee6b7" providerId="AD" clId="Web-{BC20002A-DD50-A4DB-6E49-7A93E5E7CEB5}" dt="2024-08-01T11:39:25.358" v="12"/>
        <pc:sldMkLst>
          <pc:docMk/>
          <pc:sldMk cId="0" sldId="256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23"/>
        <pc:sldMkLst>
          <pc:docMk/>
          <pc:sldMk cId="2266338580" sldId="259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12" v="5"/>
        <pc:sldMkLst>
          <pc:docMk/>
          <pc:sldMk cId="0" sldId="260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12" v="4"/>
        <pc:sldMkLst>
          <pc:docMk/>
          <pc:sldMk cId="0" sldId="261"/>
        </pc:sldMkLst>
      </pc:sldChg>
      <pc:sldChg chg="addSp delSp modSp add del">
        <pc:chgData name="青木 萌百" userId="S::aokimomo@r.recruit.co.jp::b1fbb345-35ba-4afb-a6c5-7071621ee6b7" providerId="AD" clId="Web-{BC20002A-DD50-A4DB-6E49-7A93E5E7CEB5}" dt="2024-08-01T12:53:15.494" v="754" actId="1076"/>
        <pc:sldMkLst>
          <pc:docMk/>
          <pc:sldMk cId="942853360" sldId="282"/>
        </pc:sldMkLst>
        <pc:spChg chg="add mod">
          <ac:chgData name="青木 萌百" userId="S::aokimomo@r.recruit.co.jp::b1fbb345-35ba-4afb-a6c5-7071621ee6b7" providerId="AD" clId="Web-{BC20002A-DD50-A4DB-6E49-7A93E5E7CEB5}" dt="2024-08-01T12:34:48.765" v="642" actId="1076"/>
          <ac:spMkLst>
            <pc:docMk/>
            <pc:sldMk cId="942853360" sldId="282"/>
            <ac:spMk id="3" creationId="{3B40B327-6BDE-5732-025F-6F23B7B29DBB}"/>
          </ac:spMkLst>
        </pc:spChg>
        <pc:spChg chg="add mod">
          <ac:chgData name="青木 萌百" userId="S::aokimomo@r.recruit.co.jp::b1fbb345-35ba-4afb-a6c5-7071621ee6b7" providerId="AD" clId="Web-{BC20002A-DD50-A4DB-6E49-7A93E5E7CEB5}" dt="2024-08-01T12:34:48.781" v="643" actId="1076"/>
          <ac:spMkLst>
            <pc:docMk/>
            <pc:sldMk cId="942853360" sldId="282"/>
            <ac:spMk id="4" creationId="{5A550121-9644-A951-6098-866840DE73CD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578" v="632" actId="1076"/>
          <ac:spMkLst>
            <pc:docMk/>
            <pc:sldMk cId="942853360" sldId="282"/>
            <ac:spMk id="33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593" v="633" actId="1076"/>
          <ac:spMkLst>
            <pc:docMk/>
            <pc:sldMk cId="942853360" sldId="282"/>
            <ac:spMk id="36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7:00.254" v="682"/>
          <ac:spMkLst>
            <pc:docMk/>
            <pc:sldMk cId="942853360" sldId="282"/>
            <ac:spMk id="37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687" v="638" actId="1076"/>
          <ac:spMkLst>
            <pc:docMk/>
            <pc:sldMk cId="942853360" sldId="282"/>
            <ac:spMk id="39" creationId="{B9BD102C-6EB5-404A-8CEA-7B639804DDA2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6:50.957" v="681"/>
          <ac:spMkLst>
            <pc:docMk/>
            <pc:sldMk cId="942853360" sldId="282"/>
            <ac:spMk id="41" creationId="{00000000-0000-0000-0000-000000000000}"/>
          </ac:spMkLst>
        </pc:spChg>
        <pc:spChg chg="del mod">
          <ac:chgData name="青木 萌百" userId="S::aokimomo@r.recruit.co.jp::b1fbb345-35ba-4afb-a6c5-7071621ee6b7" providerId="AD" clId="Web-{BC20002A-DD50-A4DB-6E49-7A93E5E7CEB5}" dt="2024-08-01T12:07:42.587" v="307"/>
          <ac:spMkLst>
            <pc:docMk/>
            <pc:sldMk cId="942853360" sldId="282"/>
            <ac:spMk id="42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1:48:36.314" v="93"/>
          <ac:spMkLst>
            <pc:docMk/>
            <pc:sldMk cId="942853360" sldId="282"/>
            <ac:spMk id="43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1:48:33.392" v="92"/>
          <ac:spMkLst>
            <pc:docMk/>
            <pc:sldMk cId="942853360" sldId="282"/>
            <ac:spMk id="44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703" v="639" actId="1076"/>
          <ac:spMkLst>
            <pc:docMk/>
            <pc:sldMk cId="942853360" sldId="282"/>
            <ac:spMk id="45" creationId="{55D09B86-86E0-4303-AEE1-F71391F32481}"/>
          </ac:spMkLst>
        </pc:spChg>
        <pc:spChg chg="del mod">
          <ac:chgData name="青木 萌百" userId="S::aokimomo@r.recruit.co.jp::b1fbb345-35ba-4afb-a6c5-7071621ee6b7" providerId="AD" clId="Web-{BC20002A-DD50-A4DB-6E49-7A93E5E7CEB5}" dt="2024-08-01T12:11:19.797" v="341"/>
          <ac:spMkLst>
            <pc:docMk/>
            <pc:sldMk cId="942853360" sldId="282"/>
            <ac:spMk id="46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718" v="640" actId="1076"/>
          <ac:spMkLst>
            <pc:docMk/>
            <pc:sldMk cId="942853360" sldId="282"/>
            <ac:spMk id="48" creationId="{7FC911DF-4857-4CC9-B4F5-F960528B72A6}"/>
          </ac:spMkLst>
        </pc:spChg>
        <pc:spChg chg="add del mod">
          <ac:chgData name="青木 萌百" userId="S::aokimomo@r.recruit.co.jp::b1fbb345-35ba-4afb-a6c5-7071621ee6b7" providerId="AD" clId="Web-{BC20002A-DD50-A4DB-6E49-7A93E5E7CEB5}" dt="2024-08-01T11:55:02.592" v="141"/>
          <ac:spMkLst>
            <pc:docMk/>
            <pc:sldMk cId="942853360" sldId="282"/>
            <ac:spMk id="49" creationId="{00000000-0000-0000-0000-000000000000}"/>
          </ac:spMkLst>
        </pc:spChg>
        <pc:spChg chg="add del mod">
          <ac:chgData name="青木 萌百" userId="S::aokimomo@r.recruit.co.jp::b1fbb345-35ba-4afb-a6c5-7071621ee6b7" providerId="AD" clId="Web-{BC20002A-DD50-A4DB-6E49-7A93E5E7CEB5}" dt="2024-08-01T12:34:48.546" v="630" actId="1076"/>
          <ac:spMkLst>
            <pc:docMk/>
            <pc:sldMk cId="942853360" sldId="282"/>
            <ac:spMk id="50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1:48:11.219" v="91"/>
          <ac:spMkLst>
            <pc:docMk/>
            <pc:sldMk cId="942853360" sldId="282"/>
            <ac:spMk id="51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562" v="631" actId="1076"/>
          <ac:spMkLst>
            <pc:docMk/>
            <pc:sldMk cId="942853360" sldId="282"/>
            <ac:spMk id="52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734" v="641" actId="1076"/>
          <ac:spMkLst>
            <pc:docMk/>
            <pc:sldMk cId="942853360" sldId="282"/>
            <ac:spMk id="53" creationId="{02EBBF3B-531A-4047-94CF-B7C5541D0D48}"/>
          </ac:spMkLst>
        </pc:spChg>
        <pc:spChg chg="del mod">
          <ac:chgData name="青木 萌百" userId="S::aokimomo@r.recruit.co.jp::b1fbb345-35ba-4afb-a6c5-7071621ee6b7" providerId="AD" clId="Web-{BC20002A-DD50-A4DB-6E49-7A93E5E7CEB5}" dt="2024-08-01T12:29:11.676" v="570"/>
          <ac:spMkLst>
            <pc:docMk/>
            <pc:sldMk cId="942853360" sldId="282"/>
            <ac:spMk id="57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53:15.494" v="754" actId="1076"/>
          <ac:spMkLst>
            <pc:docMk/>
            <pc:sldMk cId="942853360" sldId="282"/>
            <ac:spMk id="61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609" v="634" actId="1076"/>
          <ac:spMkLst>
            <pc:docMk/>
            <pc:sldMk cId="942853360" sldId="282"/>
            <ac:spMk id="72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656" v="636" actId="1076"/>
          <ac:spMkLst>
            <pc:docMk/>
            <pc:sldMk cId="942853360" sldId="282"/>
            <ac:spMk id="77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34:48.671" v="637" actId="1076"/>
          <ac:spMkLst>
            <pc:docMk/>
            <pc:sldMk cId="942853360" sldId="282"/>
            <ac:spMk id="78" creationId="{00000000-0000-0000-0000-000000000000}"/>
          </ac:spMkLst>
        </pc:spChg>
        <pc:cxnChg chg="del mod">
          <ac:chgData name="青木 萌百" userId="S::aokimomo@r.recruit.co.jp::b1fbb345-35ba-4afb-a6c5-7071621ee6b7" providerId="AD" clId="Web-{BC20002A-DD50-A4DB-6E49-7A93E5E7CEB5}" dt="2024-08-01T12:07:45.462" v="308"/>
          <ac:cxnSpMkLst>
            <pc:docMk/>
            <pc:sldMk cId="942853360" sldId="282"/>
            <ac:cxnSpMk id="32" creationId="{00000000-0000-0000-0000-000000000000}"/>
          </ac:cxnSpMkLst>
        </pc:cxnChg>
        <pc:cxnChg chg="del mod">
          <ac:chgData name="青木 萌百" userId="S::aokimomo@r.recruit.co.jp::b1fbb345-35ba-4afb-a6c5-7071621ee6b7" providerId="AD" clId="Web-{BC20002A-DD50-A4DB-6E49-7A93E5E7CEB5}" dt="2024-08-01T12:06:58.429" v="299"/>
          <ac:cxnSpMkLst>
            <pc:docMk/>
            <pc:sldMk cId="942853360" sldId="282"/>
            <ac:cxnSpMk id="38" creationId="{7A0BD606-5D76-4150-817D-5922B2BF9D17}"/>
          </ac:cxnSpMkLst>
        </pc:cxnChg>
        <pc:cxnChg chg="del mod">
          <ac:chgData name="青木 萌百" userId="S::aokimomo@r.recruit.co.jp::b1fbb345-35ba-4afb-a6c5-7071621ee6b7" providerId="AD" clId="Web-{BC20002A-DD50-A4DB-6E49-7A93E5E7CEB5}" dt="2024-08-01T12:08:40.902" v="318"/>
          <ac:cxnSpMkLst>
            <pc:docMk/>
            <pc:sldMk cId="942853360" sldId="282"/>
            <ac:cxnSpMk id="40" creationId="{AACD1679-8A86-4276-90E7-DAAB79907FE0}"/>
          </ac:cxnSpMkLst>
        </pc:cxnChg>
        <pc:cxnChg chg="del mod">
          <ac:chgData name="青木 萌百" userId="S::aokimomo@r.recruit.co.jp::b1fbb345-35ba-4afb-a6c5-7071621ee6b7" providerId="AD" clId="Web-{BC20002A-DD50-A4DB-6E49-7A93E5E7CEB5}" dt="2024-08-01T12:07:01.476" v="300"/>
          <ac:cxnSpMkLst>
            <pc:docMk/>
            <pc:sldMk cId="942853360" sldId="282"/>
            <ac:cxnSpMk id="55" creationId="{00000000-0000-0000-0000-000000000000}"/>
          </ac:cxnSpMkLst>
        </pc:cxnChg>
        <pc:cxnChg chg="del mod">
          <ac:chgData name="青木 萌百" userId="S::aokimomo@r.recruit.co.jp::b1fbb345-35ba-4afb-a6c5-7071621ee6b7" providerId="AD" clId="Web-{BC20002A-DD50-A4DB-6E49-7A93E5E7CEB5}" dt="2024-08-01T12:08:43.027" v="319"/>
          <ac:cxnSpMkLst>
            <pc:docMk/>
            <pc:sldMk cId="942853360" sldId="282"/>
            <ac:cxnSpMk id="56" creationId="{00000000-0000-0000-0000-000000000000}"/>
          </ac:cxnSpMkLst>
        </pc:cxnChg>
        <pc:cxnChg chg="del mod">
          <ac:chgData name="青木 萌百" userId="S::aokimomo@r.recruit.co.jp::b1fbb345-35ba-4afb-a6c5-7071621ee6b7" providerId="AD" clId="Web-{BC20002A-DD50-A4DB-6E49-7A93E5E7CEB5}" dt="2024-08-01T12:06:36.663" v="298"/>
          <ac:cxnSpMkLst>
            <pc:docMk/>
            <pc:sldMk cId="942853360" sldId="282"/>
            <ac:cxnSpMk id="59" creationId="{00000000-0000-0000-0000-000000000000}"/>
          </ac:cxnSpMkLst>
        </pc:cxnChg>
        <pc:cxnChg chg="del mod">
          <ac:chgData name="青木 萌百" userId="S::aokimomo@r.recruit.co.jp::b1fbb345-35ba-4afb-a6c5-7071621ee6b7" providerId="AD" clId="Web-{BC20002A-DD50-A4DB-6E49-7A93E5E7CEB5}" dt="2024-08-01T12:07:04.867" v="301"/>
          <ac:cxnSpMkLst>
            <pc:docMk/>
            <pc:sldMk cId="942853360" sldId="282"/>
            <ac:cxnSpMk id="60" creationId="{00000000-0000-0000-0000-000000000000}"/>
          </ac:cxnSpMkLst>
        </pc:cxnChg>
        <pc:cxnChg chg="del">
          <ac:chgData name="青木 萌百" userId="S::aokimomo@r.recruit.co.jp::b1fbb345-35ba-4afb-a6c5-7071621ee6b7" providerId="AD" clId="Web-{BC20002A-DD50-A4DB-6E49-7A93E5E7CEB5}" dt="2024-08-01T12:08:35.183" v="317"/>
          <ac:cxnSpMkLst>
            <pc:docMk/>
            <pc:sldMk cId="942853360" sldId="282"/>
            <ac:cxnSpMk id="67" creationId="{00000000-0000-0000-0000-000000000000}"/>
          </ac:cxnSpMkLst>
        </pc:cxnChg>
      </pc:sldChg>
      <pc:sldChg chg="modSp">
        <pc:chgData name="青木 萌百" userId="S::aokimomo@r.recruit.co.jp::b1fbb345-35ba-4afb-a6c5-7071621ee6b7" providerId="AD" clId="Web-{BC20002A-DD50-A4DB-6E49-7A93E5E7CEB5}" dt="2024-08-01T11:40:47.314" v="46" actId="20577"/>
        <pc:sldMkLst>
          <pc:docMk/>
          <pc:sldMk cId="4086832234" sldId="295"/>
        </pc:sldMkLst>
        <pc:spChg chg="mod">
          <ac:chgData name="青木 萌百" userId="S::aokimomo@r.recruit.co.jp::b1fbb345-35ba-4afb-a6c5-7071621ee6b7" providerId="AD" clId="Web-{BC20002A-DD50-A4DB-6E49-7A93E5E7CEB5}" dt="2024-08-01T11:40:47.314" v="46" actId="20577"/>
          <ac:spMkLst>
            <pc:docMk/>
            <pc:sldMk cId="4086832234" sldId="295"/>
            <ac:spMk id="2" creationId="{99247628-DA5D-4908-96A7-29DF0B0B0F7B}"/>
          </ac:spMkLst>
        </pc:spChg>
      </pc:sldChg>
      <pc:sldChg chg="del">
        <pc:chgData name="青木 萌百" userId="S::aokimomo@r.recruit.co.jp::b1fbb345-35ba-4afb-a6c5-7071621ee6b7" providerId="AD" clId="Web-{BC20002A-DD50-A4DB-6E49-7A93E5E7CEB5}" dt="2024-08-01T11:39:25.358" v="11"/>
        <pc:sldMkLst>
          <pc:docMk/>
          <pc:sldMk cId="2223785560" sldId="296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296" v="1"/>
        <pc:sldMkLst>
          <pc:docMk/>
          <pc:sldMk cId="1711820508" sldId="299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19" v="61"/>
        <pc:sldMkLst>
          <pc:docMk/>
          <pc:sldMk cId="2445821381" sldId="301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74" v="31"/>
        <pc:sldMkLst>
          <pc:docMk/>
          <pc:sldMk cId="713207289" sldId="302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59" v="30"/>
        <pc:sldMkLst>
          <pc:docMk/>
          <pc:sldMk cId="1668927493" sldId="308"/>
        </pc:sldMkLst>
      </pc:sldChg>
      <pc:sldChg chg="addSp modSp">
        <pc:chgData name="青木 萌百" userId="S::aokimomo@r.recruit.co.jp::b1fbb345-35ba-4afb-a6c5-7071621ee6b7" providerId="AD" clId="Web-{BC20002A-DD50-A4DB-6E49-7A93E5E7CEB5}" dt="2024-08-01T12:59:14.990" v="776" actId="20577"/>
        <pc:sldMkLst>
          <pc:docMk/>
          <pc:sldMk cId="2772416504" sldId="309"/>
        </pc:sldMkLst>
        <pc:spChg chg="add mod">
          <ac:chgData name="青木 萌百" userId="S::aokimomo@r.recruit.co.jp::b1fbb345-35ba-4afb-a6c5-7071621ee6b7" providerId="AD" clId="Web-{BC20002A-DD50-A4DB-6E49-7A93E5E7CEB5}" dt="2024-08-01T12:59:10.553" v="774" actId="1076"/>
          <ac:spMkLst>
            <pc:docMk/>
            <pc:sldMk cId="2772416504" sldId="309"/>
            <ac:spMk id="5" creationId="{A69B0569-F40D-F9CD-E73A-E41DA3D86505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59:14.990" v="776" actId="20577"/>
          <ac:spMkLst>
            <pc:docMk/>
            <pc:sldMk cId="2772416504" sldId="309"/>
            <ac:spMk id="35" creationId="{E8E265E2-0041-45F9-84F7-88D89888751C}"/>
          </ac:spMkLst>
        </pc:spChg>
      </pc:sldChg>
      <pc:sldChg chg="del">
        <pc:chgData name="青木 萌百" userId="S::aokimomo@r.recruit.co.jp::b1fbb345-35ba-4afb-a6c5-7071621ee6b7" providerId="AD" clId="Web-{BC20002A-DD50-A4DB-6E49-7A93E5E7CEB5}" dt="2024-08-01T11:40:22.626" v="35"/>
        <pc:sldMkLst>
          <pc:docMk/>
          <pc:sldMk cId="1720643097" sldId="310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73"/>
        <pc:sldMkLst>
          <pc:docMk/>
          <pc:sldMk cId="198995562" sldId="316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72"/>
        <pc:sldMkLst>
          <pc:docMk/>
          <pc:sldMk cId="3198388641" sldId="317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71"/>
        <pc:sldMkLst>
          <pc:docMk/>
          <pc:sldMk cId="3683875835" sldId="318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68"/>
        <pc:sldMkLst>
          <pc:docMk/>
          <pc:sldMk cId="570603812" sldId="319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67"/>
        <pc:sldMkLst>
          <pc:docMk/>
          <pc:sldMk cId="1724984017" sldId="320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66"/>
        <pc:sldMkLst>
          <pc:docMk/>
          <pc:sldMk cId="2076276915" sldId="321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65"/>
        <pc:sldMkLst>
          <pc:docMk/>
          <pc:sldMk cId="2612266595" sldId="322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19" v="64"/>
        <pc:sldMkLst>
          <pc:docMk/>
          <pc:sldMk cId="2243159783" sldId="325"/>
        </pc:sldMkLst>
      </pc:sldChg>
      <pc:sldChg chg="modSp add del">
        <pc:chgData name="青木 萌百" userId="S::aokimomo@r.recruit.co.jp::b1fbb345-35ba-4afb-a6c5-7071621ee6b7" providerId="AD" clId="Web-{BC20002A-DD50-A4DB-6E49-7A93E5E7CEB5}" dt="2024-08-01T12:55:05.357" v="769" actId="20577"/>
        <pc:sldMkLst>
          <pc:docMk/>
          <pc:sldMk cId="295099381" sldId="329"/>
        </pc:sldMkLst>
        <pc:spChg chg="mod">
          <ac:chgData name="青木 萌百" userId="S::aokimomo@r.recruit.co.jp::b1fbb345-35ba-4afb-a6c5-7071621ee6b7" providerId="AD" clId="Web-{BC20002A-DD50-A4DB-6E49-7A93E5E7CEB5}" dt="2024-08-01T12:55:05.357" v="769" actId="20577"/>
          <ac:spMkLst>
            <pc:docMk/>
            <pc:sldMk cId="295099381" sldId="329"/>
            <ac:spMk id="18" creationId="{00000000-0000-0000-0000-000000000000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54:53.185" v="765" actId="20577"/>
          <ac:spMkLst>
            <pc:docMk/>
            <pc:sldMk cId="295099381" sldId="329"/>
            <ac:spMk id="61" creationId="{00000000-0000-0000-0000-000000000000}"/>
          </ac:spMkLst>
        </pc:spChg>
      </pc:sldChg>
      <pc:sldChg chg="del">
        <pc:chgData name="青木 萌百" userId="S::aokimomo@r.recruit.co.jp::b1fbb345-35ba-4afb-a6c5-7071621ee6b7" providerId="AD" clId="Web-{BC20002A-DD50-A4DB-6E49-7A93E5E7CEB5}" dt="2024-08-01T11:41:31.003" v="54"/>
        <pc:sldMkLst>
          <pc:docMk/>
          <pc:sldMk cId="7471091" sldId="330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28" v="16"/>
        <pc:sldMkLst>
          <pc:docMk/>
          <pc:sldMk cId="3436677611" sldId="331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59" v="28"/>
        <pc:sldMkLst>
          <pc:docMk/>
          <pc:sldMk cId="1047569039" sldId="333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59" v="29"/>
        <pc:sldMkLst>
          <pc:docMk/>
          <pc:sldMk cId="1843598343" sldId="334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12" v="13"/>
        <pc:sldMkLst>
          <pc:docMk/>
          <pc:sldMk cId="546036804" sldId="335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28" v="14"/>
        <pc:sldMkLst>
          <pc:docMk/>
          <pc:sldMk cId="996997577" sldId="337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21"/>
        <pc:sldMkLst>
          <pc:docMk/>
          <pc:sldMk cId="1414795181" sldId="338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20"/>
        <pc:sldMkLst>
          <pc:docMk/>
          <pc:sldMk cId="1987367992" sldId="339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19"/>
        <pc:sldMkLst>
          <pc:docMk/>
          <pc:sldMk cId="771068655" sldId="340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28" v="17"/>
        <pc:sldMkLst>
          <pc:docMk/>
          <pc:sldMk cId="1286336779" sldId="343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12" v="3"/>
        <pc:sldMkLst>
          <pc:docMk/>
          <pc:sldMk cId="4101824780" sldId="344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59" v="25"/>
        <pc:sldMkLst>
          <pc:docMk/>
          <pc:sldMk cId="23915091" sldId="347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59" v="26"/>
        <pc:sldMkLst>
          <pc:docMk/>
          <pc:sldMk cId="2560568556" sldId="348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59" v="27"/>
        <pc:sldMkLst>
          <pc:docMk/>
          <pc:sldMk cId="4081933618" sldId="349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24"/>
        <pc:sldMkLst>
          <pc:docMk/>
          <pc:sldMk cId="2972086455" sldId="351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18"/>
        <pc:sldMkLst>
          <pc:docMk/>
          <pc:sldMk cId="947663675" sldId="352"/>
        </pc:sldMkLst>
      </pc:sldChg>
      <pc:sldChg chg="del">
        <pc:chgData name="青木 萌百" userId="S::aokimomo@r.recruit.co.jp::b1fbb345-35ba-4afb-a6c5-7071621ee6b7" providerId="AD" clId="Web-{BC20002A-DD50-A4DB-6E49-7A93E5E7CEB5}" dt="2024-08-01T11:40:22.610" v="33"/>
        <pc:sldMkLst>
          <pc:docMk/>
          <pc:sldMk cId="3547864602" sldId="418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27" v="6"/>
        <pc:sldMkLst>
          <pc:docMk/>
          <pc:sldMk cId="0" sldId="421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19" v="60"/>
        <pc:sldMkLst>
          <pc:docMk/>
          <pc:sldMk cId="96378249" sldId="427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19" v="59"/>
        <pc:sldMkLst>
          <pc:docMk/>
          <pc:sldMk cId="3929259240" sldId="463"/>
        </pc:sldMkLst>
      </pc:sldChg>
      <pc:sldChg chg="addSp delSp modSp add del">
        <pc:chgData name="青木 萌百" userId="S::aokimomo@r.recruit.co.jp::b1fbb345-35ba-4afb-a6c5-7071621ee6b7" providerId="AD" clId="Web-{BC20002A-DD50-A4DB-6E49-7A93E5E7CEB5}" dt="2024-08-01T12:43:11.563" v="746" actId="1076"/>
        <pc:sldMkLst>
          <pc:docMk/>
          <pc:sldMk cId="2582365429" sldId="686"/>
        </pc:sldMkLst>
        <pc:spChg chg="mod">
          <ac:chgData name="青木 萌百" userId="S::aokimomo@r.recruit.co.jp::b1fbb345-35ba-4afb-a6c5-7071621ee6b7" providerId="AD" clId="Web-{BC20002A-DD50-A4DB-6E49-7A93E5E7CEB5}" dt="2024-08-01T12:42:42.562" v="745" actId="14100"/>
          <ac:spMkLst>
            <pc:docMk/>
            <pc:sldMk cId="2582365429" sldId="686"/>
            <ac:spMk id="3" creationId="{2F86B5E8-C8E9-41CD-BE30-5968F7DC91C9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49.611" v="647"/>
          <ac:spMkLst>
            <pc:docMk/>
            <pc:sldMk cId="2582365429" sldId="686"/>
            <ac:spMk id="4" creationId="{DC9E6A61-F600-4E35-A327-7DD4ABB4907C}"/>
          </ac:spMkLst>
        </pc:spChg>
        <pc:spChg chg="add mod">
          <ac:chgData name="青木 萌百" userId="S::aokimomo@r.recruit.co.jp::b1fbb345-35ba-4afb-a6c5-7071621ee6b7" providerId="AD" clId="Web-{BC20002A-DD50-A4DB-6E49-7A93E5E7CEB5}" dt="2024-08-01T12:37:25.661" v="685" actId="1076"/>
          <ac:spMkLst>
            <pc:docMk/>
            <pc:sldMk cId="2582365429" sldId="686"/>
            <ac:spMk id="6" creationId="{FE7B1B26-211E-DC06-C706-1A77070228CC}"/>
          </ac:spMkLst>
        </pc:spChg>
        <pc:spChg chg="add mod">
          <ac:chgData name="青木 萌百" userId="S::aokimomo@r.recruit.co.jp::b1fbb345-35ba-4afb-a6c5-7071621ee6b7" providerId="AD" clId="Web-{BC20002A-DD50-A4DB-6E49-7A93E5E7CEB5}" dt="2024-08-01T12:37:25.677" v="686" actId="1076"/>
          <ac:spMkLst>
            <pc:docMk/>
            <pc:sldMk cId="2582365429" sldId="686"/>
            <ac:spMk id="8" creationId="{C463061B-6736-AC12-D16F-133A46566376}"/>
          </ac:spMkLst>
        </pc:spChg>
        <pc:spChg chg="add mod">
          <ac:chgData name="青木 萌百" userId="S::aokimomo@r.recruit.co.jp::b1fbb345-35ba-4afb-a6c5-7071621ee6b7" providerId="AD" clId="Web-{BC20002A-DD50-A4DB-6E49-7A93E5E7CEB5}" dt="2024-08-01T12:37:25.692" v="687" actId="1076"/>
          <ac:spMkLst>
            <pc:docMk/>
            <pc:sldMk cId="2582365429" sldId="686"/>
            <ac:spMk id="10" creationId="{856F2529-30A3-4F50-ED4C-55E2BE3B9E0B}"/>
          </ac:spMkLst>
        </pc:spChg>
        <pc:spChg chg="add mod">
          <ac:chgData name="青木 萌百" userId="S::aokimomo@r.recruit.co.jp::b1fbb345-35ba-4afb-a6c5-7071621ee6b7" providerId="AD" clId="Web-{BC20002A-DD50-A4DB-6E49-7A93E5E7CEB5}" dt="2024-08-01T12:37:51.974" v="692"/>
          <ac:spMkLst>
            <pc:docMk/>
            <pc:sldMk cId="2582365429" sldId="686"/>
            <ac:spMk id="12" creationId="{626C2BC2-6EF6-7745-7642-B4B3BFB90A78}"/>
          </ac:spMkLst>
        </pc:spChg>
        <pc:spChg chg="add mod">
          <ac:chgData name="青木 萌百" userId="S::aokimomo@r.recruit.co.jp::b1fbb345-35ba-4afb-a6c5-7071621ee6b7" providerId="AD" clId="Web-{BC20002A-DD50-A4DB-6E49-7A93E5E7CEB5}" dt="2024-08-01T12:37:25.723" v="689" actId="1076"/>
          <ac:spMkLst>
            <pc:docMk/>
            <pc:sldMk cId="2582365429" sldId="686"/>
            <ac:spMk id="14" creationId="{93F63AF9-2D0D-C1E3-8C25-77DAF2888117}"/>
          </ac:spMkLst>
        </pc:spChg>
        <pc:spChg chg="add del mod">
          <ac:chgData name="青木 萌百" userId="S::aokimomo@r.recruit.co.jp::b1fbb345-35ba-4afb-a6c5-7071621ee6b7" providerId="AD" clId="Web-{BC20002A-DD50-A4DB-6E49-7A93E5E7CEB5}" dt="2024-08-01T12:40:24.651" v="723"/>
          <ac:spMkLst>
            <pc:docMk/>
            <pc:sldMk cId="2582365429" sldId="686"/>
            <ac:spMk id="15" creationId="{13C9A5D1-49A2-B455-C3E2-DC5F729FA126}"/>
          </ac:spMkLst>
        </pc:spChg>
        <pc:spChg chg="add del mod">
          <ac:chgData name="青木 萌百" userId="S::aokimomo@r.recruit.co.jp::b1fbb345-35ba-4afb-a6c5-7071621ee6b7" providerId="AD" clId="Web-{BC20002A-DD50-A4DB-6E49-7A93E5E7CEB5}" dt="2024-08-01T12:42:24.921" v="742"/>
          <ac:spMkLst>
            <pc:docMk/>
            <pc:sldMk cId="2582365429" sldId="686"/>
            <ac:spMk id="16" creationId="{8B69DF23-2035-6CDB-864E-45727664E81F}"/>
          </ac:spMkLst>
        </pc:spChg>
        <pc:spChg chg="mod">
          <ac:chgData name="青木 萌百" userId="S::aokimomo@r.recruit.co.jp::b1fbb345-35ba-4afb-a6c5-7071621ee6b7" providerId="AD" clId="Web-{BC20002A-DD50-A4DB-6E49-7A93E5E7CEB5}" dt="2024-08-01T12:43:11.563" v="746" actId="1076"/>
          <ac:spMkLst>
            <pc:docMk/>
            <pc:sldMk cId="2582365429" sldId="686"/>
            <ac:spMk id="39" creationId="{14151E8B-57AF-4800-930F-8119584200C6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60"/>
          <ac:spMkLst>
            <pc:docMk/>
            <pc:sldMk cId="2582365429" sldId="686"/>
            <ac:spMk id="41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59"/>
          <ac:spMkLst>
            <pc:docMk/>
            <pc:sldMk cId="2582365429" sldId="686"/>
            <ac:spMk id="43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6:01.596" v="662"/>
          <ac:spMkLst>
            <pc:docMk/>
            <pc:sldMk cId="2582365429" sldId="686"/>
            <ac:spMk id="44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58"/>
          <ac:spMkLst>
            <pc:docMk/>
            <pc:sldMk cId="2582365429" sldId="686"/>
            <ac:spMk id="46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53"/>
          <ac:spMkLst>
            <pc:docMk/>
            <pc:sldMk cId="2582365429" sldId="686"/>
            <ac:spMk id="49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57"/>
          <ac:spMkLst>
            <pc:docMk/>
            <pc:sldMk cId="2582365429" sldId="686"/>
            <ac:spMk id="50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6:01.596" v="661"/>
          <ac:spMkLst>
            <pc:docMk/>
            <pc:sldMk cId="2582365429" sldId="686"/>
            <ac:spMk id="51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56"/>
          <ac:spMkLst>
            <pc:docMk/>
            <pc:sldMk cId="2582365429" sldId="686"/>
            <ac:spMk id="52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52"/>
          <ac:spMkLst>
            <pc:docMk/>
            <pc:sldMk cId="2582365429" sldId="686"/>
            <ac:spMk id="57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49"/>
          <ac:spMkLst>
            <pc:docMk/>
            <pc:sldMk cId="2582365429" sldId="686"/>
            <ac:spMk id="77" creationId="{00000000-0000-0000-0000-000000000000}"/>
          </ac:spMkLst>
        </pc:spChg>
        <pc:spChg chg="del">
          <ac:chgData name="青木 萌百" userId="S::aokimomo@r.recruit.co.jp::b1fbb345-35ba-4afb-a6c5-7071621ee6b7" providerId="AD" clId="Web-{BC20002A-DD50-A4DB-6E49-7A93E5E7CEB5}" dt="2024-08-01T12:35:59.174" v="648"/>
          <ac:spMkLst>
            <pc:docMk/>
            <pc:sldMk cId="2582365429" sldId="686"/>
            <ac:spMk id="78" creationId="{00000000-0000-0000-0000-000000000000}"/>
          </ac:spMkLst>
        </pc:spChg>
        <pc:picChg chg="mod">
          <ac:chgData name="青木 萌百" userId="S::aokimomo@r.recruit.co.jp::b1fbb345-35ba-4afb-a6c5-7071621ee6b7" providerId="AD" clId="Web-{BC20002A-DD50-A4DB-6E49-7A93E5E7CEB5}" dt="2024-08-01T12:37:20.348" v="683" actId="1076"/>
          <ac:picMkLst>
            <pc:docMk/>
            <pc:sldMk cId="2582365429" sldId="686"/>
            <ac:picMk id="45" creationId="{179D440A-3D64-47E9-98EE-AA581F8387A0}"/>
          </ac:picMkLst>
        </pc:picChg>
        <pc:cxnChg chg="del">
          <ac:chgData name="青木 萌百" userId="S::aokimomo@r.recruit.co.jp::b1fbb345-35ba-4afb-a6c5-7071621ee6b7" providerId="AD" clId="Web-{BC20002A-DD50-A4DB-6E49-7A93E5E7CEB5}" dt="2024-08-01T12:35:59.174" v="651"/>
          <ac:cxnSpMkLst>
            <pc:docMk/>
            <pc:sldMk cId="2582365429" sldId="686"/>
            <ac:cxnSpMk id="38" creationId="{7A0BD606-5D76-4150-817D-5922B2BF9D17}"/>
          </ac:cxnSpMkLst>
        </pc:cxnChg>
        <pc:cxnChg chg="del">
          <ac:chgData name="青木 萌百" userId="S::aokimomo@r.recruit.co.jp::b1fbb345-35ba-4afb-a6c5-7071621ee6b7" providerId="AD" clId="Web-{BC20002A-DD50-A4DB-6E49-7A93E5E7CEB5}" dt="2024-08-01T12:35:59.174" v="650"/>
          <ac:cxnSpMkLst>
            <pc:docMk/>
            <pc:sldMk cId="2582365429" sldId="686"/>
            <ac:cxnSpMk id="40" creationId="{AACD1679-8A86-4276-90E7-DAAB79907FE0}"/>
          </ac:cxnSpMkLst>
        </pc:cxnChg>
        <pc:cxnChg chg="del">
          <ac:chgData name="青木 萌百" userId="S::aokimomo@r.recruit.co.jp::b1fbb345-35ba-4afb-a6c5-7071621ee6b7" providerId="AD" clId="Web-{BC20002A-DD50-A4DB-6E49-7A93E5E7CEB5}" dt="2024-08-01T12:35:59.174" v="655"/>
          <ac:cxnSpMkLst>
            <pc:docMk/>
            <pc:sldMk cId="2582365429" sldId="686"/>
            <ac:cxnSpMk id="55" creationId="{00000000-0000-0000-0000-000000000000}"/>
          </ac:cxnSpMkLst>
        </pc:cxnChg>
        <pc:cxnChg chg="del">
          <ac:chgData name="青木 萌百" userId="S::aokimomo@r.recruit.co.jp::b1fbb345-35ba-4afb-a6c5-7071621ee6b7" providerId="AD" clId="Web-{BC20002A-DD50-A4DB-6E49-7A93E5E7CEB5}" dt="2024-08-01T12:35:59.174" v="654"/>
          <ac:cxnSpMkLst>
            <pc:docMk/>
            <pc:sldMk cId="2582365429" sldId="686"/>
            <ac:cxnSpMk id="56" creationId="{00000000-0000-0000-0000-000000000000}"/>
          </ac:cxnSpMkLst>
        </pc:cxnChg>
      </pc:sldChg>
      <pc:sldChg chg="del">
        <pc:chgData name="青木 萌百" userId="S::aokimomo@r.recruit.co.jp::b1fbb345-35ba-4afb-a6c5-7071621ee6b7" providerId="AD" clId="Web-{BC20002A-DD50-A4DB-6E49-7A93E5E7CEB5}" dt="2024-08-01T11:41:31.019" v="63"/>
        <pc:sldMkLst>
          <pc:docMk/>
          <pc:sldMk cId="2464019719" sldId="687"/>
        </pc:sldMkLst>
      </pc:sldChg>
      <pc:sldChg chg="ord">
        <pc:chgData name="青木 萌百" userId="S::aokimomo@r.recruit.co.jp::b1fbb345-35ba-4afb-a6c5-7071621ee6b7" providerId="AD" clId="Web-{BC20002A-DD50-A4DB-6E49-7A93E5E7CEB5}" dt="2024-08-01T11:41:18.237" v="51"/>
        <pc:sldMkLst>
          <pc:docMk/>
          <pc:sldMk cId="2240725970" sldId="689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19" v="62"/>
        <pc:sldMkLst>
          <pc:docMk/>
          <pc:sldMk cId="3612452356" sldId="690"/>
        </pc:sldMkLst>
      </pc:sldChg>
      <pc:sldChg chg="ord">
        <pc:chgData name="青木 萌百" userId="S::aokimomo@r.recruit.co.jp::b1fbb345-35ba-4afb-a6c5-7071621ee6b7" providerId="AD" clId="Web-{BC20002A-DD50-A4DB-6E49-7A93E5E7CEB5}" dt="2024-08-01T11:41:09.049" v="49"/>
        <pc:sldMkLst>
          <pc:docMk/>
          <pc:sldMk cId="4241598623" sldId="691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28" v="15"/>
        <pc:sldMkLst>
          <pc:docMk/>
          <pc:sldMk cId="3597567203" sldId="692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43" v="22"/>
        <pc:sldMkLst>
          <pc:docMk/>
          <pc:sldMk cId="3992748073" sldId="693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69"/>
        <pc:sldMkLst>
          <pc:docMk/>
          <pc:sldMk cId="2514144305" sldId="694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34" v="70"/>
        <pc:sldMkLst>
          <pc:docMk/>
          <pc:sldMk cId="1408207876" sldId="696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296" v="0"/>
        <pc:sldMkLst>
          <pc:docMk/>
          <pc:sldMk cId="2215930918" sldId="699"/>
        </pc:sldMkLst>
      </pc:sldChg>
      <pc:sldChg chg="add del">
        <pc:chgData name="青木 萌百" userId="S::aokimomo@r.recruit.co.jp::b1fbb345-35ba-4afb-a6c5-7071621ee6b7" providerId="AD" clId="Web-{BC20002A-DD50-A4DB-6E49-7A93E5E7CEB5}" dt="2024-08-01T13:00:41.399" v="777"/>
        <pc:sldMkLst>
          <pc:docMk/>
          <pc:sldMk cId="3668821284" sldId="701"/>
        </pc:sldMkLst>
      </pc:sldChg>
      <pc:sldChg chg="del">
        <pc:chgData name="青木 萌百" userId="S::aokimomo@r.recruit.co.jp::b1fbb345-35ba-4afb-a6c5-7071621ee6b7" providerId="AD" clId="Web-{BC20002A-DD50-A4DB-6E49-7A93E5E7CEB5}" dt="2024-08-01T11:40:22.610" v="34"/>
        <pc:sldMkLst>
          <pc:docMk/>
          <pc:sldMk cId="127715104" sldId="705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27" v="7"/>
        <pc:sldMkLst>
          <pc:docMk/>
          <pc:sldMk cId="434966315" sldId="706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58" v="9"/>
        <pc:sldMkLst>
          <pc:docMk/>
          <pc:sldMk cId="1345041181" sldId="707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27" v="8"/>
        <pc:sldMkLst>
          <pc:docMk/>
          <pc:sldMk cId="4202406821" sldId="708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58" v="10"/>
        <pc:sldMkLst>
          <pc:docMk/>
          <pc:sldMk cId="541272749" sldId="711"/>
        </pc:sldMkLst>
      </pc:sldChg>
      <pc:sldChg chg="del">
        <pc:chgData name="青木 萌百" userId="S::aokimomo@r.recruit.co.jp::b1fbb345-35ba-4afb-a6c5-7071621ee6b7" providerId="AD" clId="Web-{BC20002A-DD50-A4DB-6E49-7A93E5E7CEB5}" dt="2024-08-01T11:39:25.312" v="2"/>
        <pc:sldMkLst>
          <pc:docMk/>
          <pc:sldMk cId="1614209296" sldId="712"/>
        </pc:sldMkLst>
      </pc:sldChg>
      <pc:sldChg chg="del">
        <pc:chgData name="青木 萌百" userId="S::aokimomo@r.recruit.co.jp::b1fbb345-35ba-4afb-a6c5-7071621ee6b7" providerId="AD" clId="Web-{BC20002A-DD50-A4DB-6E49-7A93E5E7CEB5}" dt="2024-08-01T11:39:38.374" v="32"/>
        <pc:sldMkLst>
          <pc:docMk/>
          <pc:sldMk cId="1313633642" sldId="713"/>
        </pc:sldMkLst>
      </pc:sldChg>
      <pc:sldChg chg="del">
        <pc:chgData name="青木 萌百" userId="S::aokimomo@r.recruit.co.jp::b1fbb345-35ba-4afb-a6c5-7071621ee6b7" providerId="AD" clId="Web-{BC20002A-DD50-A4DB-6E49-7A93E5E7CEB5}" dt="2024-08-01T11:41:31.019" v="58"/>
        <pc:sldMkLst>
          <pc:docMk/>
          <pc:sldMk cId="3258745982" sldId="714"/>
        </pc:sldMkLst>
      </pc:sldChg>
      <pc:sldChg chg="add del">
        <pc:chgData name="青木 萌百" userId="S::aokimomo@r.recruit.co.jp::b1fbb345-35ba-4afb-a6c5-7071621ee6b7" providerId="AD" clId="Web-{BC20002A-DD50-A4DB-6E49-7A93E5E7CEB5}" dt="2024-08-01T13:00:41.415" v="778"/>
        <pc:sldMkLst>
          <pc:docMk/>
          <pc:sldMk cId="2354498556" sldId="715"/>
        </pc:sldMkLst>
      </pc:sldChg>
    </pc:docChg>
  </pc:docChgLst>
  <pc:docChgLst>
    <pc:chgData name="青木 萌百" userId="S::aokimomo@r.recruit.co.jp::b1fbb345-35ba-4afb-a6c5-7071621ee6b7" providerId="AD" clId="Web-{C8AC1B88-CF42-333D-CE5E-4B0F60AF557C}"/>
    <pc:docChg chg="addSld delSld">
      <pc:chgData name="青木 萌百" userId="S::aokimomo@r.recruit.co.jp::b1fbb345-35ba-4afb-a6c5-7071621ee6b7" providerId="AD" clId="Web-{C8AC1B88-CF42-333D-CE5E-4B0F60AF557C}" dt="2024-08-26T00:26:20.670" v="1"/>
      <pc:docMkLst>
        <pc:docMk/>
      </pc:docMkLst>
      <pc:sldChg chg="del">
        <pc:chgData name="青木 萌百" userId="S::aokimomo@r.recruit.co.jp::b1fbb345-35ba-4afb-a6c5-7071621ee6b7" providerId="AD" clId="Web-{C8AC1B88-CF42-333D-CE5E-4B0F60AF557C}" dt="2024-08-26T00:26:20.670" v="1"/>
        <pc:sldMkLst>
          <pc:docMk/>
          <pc:sldMk cId="4241598623" sldId="691"/>
        </pc:sldMkLst>
      </pc:sldChg>
      <pc:sldChg chg="add">
        <pc:chgData name="青木 萌百" userId="S::aokimomo@r.recruit.co.jp::b1fbb345-35ba-4afb-a6c5-7071621ee6b7" providerId="AD" clId="Web-{C8AC1B88-CF42-333D-CE5E-4B0F60AF557C}" dt="2024-08-26T00:26:18.795" v="0"/>
        <pc:sldMkLst>
          <pc:docMk/>
          <pc:sldMk cId="229983961" sldId="71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7" name="Shape 13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1pPr>
    <a:lvl2pPr indent="1607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2pPr>
    <a:lvl3pPr indent="321457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3pPr>
    <a:lvl4pPr indent="482186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4pPr>
    <a:lvl5pPr indent="642915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5pPr>
    <a:lvl6pPr indent="803643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6pPr>
    <a:lvl7pPr indent="964372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7pPr>
    <a:lvl8pPr indent="1125101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8pPr>
    <a:lvl9pPr indent="12858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10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557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47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146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417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46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70400" cy="3352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70400" cy="3352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516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r>
              <a:t>タイトルテキスト</a:t>
            </a:r>
          </a:p>
        </p:txBody>
      </p:sp>
      <p:sp>
        <p:nvSpPr>
          <p:cNvPr id="12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892969" y="354508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1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0158" y="6536531"/>
            <a:ext cx="278923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3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イメージ"/>
          <p:cNvSpPr>
            <a:spLocks noGrp="1"/>
          </p:cNvSpPr>
          <p:nvPr>
            <p:ph type="pic" sz="quarter" idx="13"/>
          </p:nvPr>
        </p:nvSpPr>
        <p:spPr>
          <a:xfrm>
            <a:off x="4723805" y="3580805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イメージ"/>
          <p:cNvSpPr>
            <a:spLocks noGrp="1"/>
          </p:cNvSpPr>
          <p:nvPr>
            <p:ph type="pic" sz="quarter" idx="14"/>
          </p:nvPr>
        </p:nvSpPr>
        <p:spPr>
          <a:xfrm>
            <a:off x="4723805" y="625078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イメージ"/>
          <p:cNvSpPr>
            <a:spLocks noGrp="1"/>
          </p:cNvSpPr>
          <p:nvPr>
            <p:ph type="pic" sz="half" idx="15"/>
          </p:nvPr>
        </p:nvSpPr>
        <p:spPr>
          <a:xfrm>
            <a:off x="669726" y="625078"/>
            <a:ext cx="3750469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892969" y="4473773"/>
            <a:ext cx="7358063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/>
            </a:lvl1pPr>
          </a:lstStyle>
          <a:p>
            <a:r>
              <a:t>–Johnny Appleseed</a:t>
            </a:r>
          </a:p>
        </p:txBody>
      </p:sp>
      <p:sp>
        <p:nvSpPr>
          <p:cNvPr id="94" name="“ここに引用を入力してください。”"/>
          <p:cNvSpPr txBox="1">
            <a:spLocks noGrp="1"/>
          </p:cNvSpPr>
          <p:nvPr>
            <p:ph type="body" sz="quarter" idx="14"/>
          </p:nvPr>
        </p:nvSpPr>
        <p:spPr>
          <a:xfrm>
            <a:off x="892969" y="2979431"/>
            <a:ext cx="7358063" cy="4705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</a:lstStyle>
          <a:p>
            <a:r>
              <a:t>“ここに引用を入力してください。”</a:t>
            </a:r>
          </a:p>
        </p:txBody>
      </p:sp>
      <p:sp>
        <p:nvSpPr>
          <p:cNvPr id="95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写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イメージ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tangle 7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CFD8DC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8" name="Rectangle 8"/>
          <p:cNvSpPr/>
          <p:nvPr/>
        </p:nvSpPr>
        <p:spPr>
          <a:xfrm>
            <a:off x="-1" y="263768"/>
            <a:ext cx="9144001" cy="675250"/>
          </a:xfrm>
          <a:prstGeom prst="rect">
            <a:avLst/>
          </a:prstGeom>
          <a:solidFill>
            <a:srgbClr val="37474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9" name="Rectangle 13"/>
          <p:cNvSpPr/>
          <p:nvPr/>
        </p:nvSpPr>
        <p:spPr>
          <a:xfrm>
            <a:off x="351692" y="1099129"/>
            <a:ext cx="8440616" cy="506437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pic>
        <p:nvPicPr>
          <p:cNvPr id="120" name="Picture 12" descr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2906" y="389562"/>
            <a:ext cx="1269402" cy="423662"/>
          </a:xfrm>
          <a:prstGeom prst="rect">
            <a:avLst/>
          </a:prstGeom>
          <a:ln w="12700">
            <a:miter lim="400000"/>
          </a:ln>
        </p:spPr>
      </p:pic>
      <p:sp>
        <p:nvSpPr>
          <p:cNvPr id="121" name="Rectangle 5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8" name="四角形">
            <a:extLst>
              <a:ext uri="{FF2B5EF4-FFF2-40B4-BE49-F238E27FC236}">
                <a16:creationId xmlns:a16="http://schemas.microsoft.com/office/drawing/2014/main" id="{7EBCDE6C-EF82-4E63-8ED9-32154AA1794A}"/>
              </a:ext>
            </a:extLst>
          </p:cNvPr>
          <p:cNvSpPr/>
          <p:nvPr userDrawn="1"/>
        </p:nvSpPr>
        <p:spPr>
          <a:xfrm>
            <a:off x="-1" y="-2976"/>
            <a:ext cx="9144001" cy="892969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9" name="イメージ" descr="イメージ">
            <a:extLst>
              <a:ext uri="{FF2B5EF4-FFF2-40B4-BE49-F238E27FC236}">
                <a16:creationId xmlns:a16="http://schemas.microsoft.com/office/drawing/2014/main" id="{4EF24628-C06B-4D70-A071-0AEDFCCBA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9" y="231707"/>
            <a:ext cx="1703860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目次">
            <a:extLst>
              <a:ext uri="{FF2B5EF4-FFF2-40B4-BE49-F238E27FC236}">
                <a16:creationId xmlns:a16="http://schemas.microsoft.com/office/drawing/2014/main" id="{C7BCA1C8-6E19-47AF-AAD0-1875083E9C64}"/>
              </a:ext>
            </a:extLst>
          </p:cNvPr>
          <p:cNvSpPr txBox="1"/>
          <p:nvPr userDrawn="1"/>
        </p:nvSpPr>
        <p:spPr>
          <a:xfrm>
            <a:off x="395085" y="255924"/>
            <a:ext cx="3651135" cy="375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2800">
                <a:solidFill>
                  <a:srgbClr val="FFFFFF"/>
                </a:solidFill>
              </a:defRPr>
            </a:lvl1pPr>
          </a:lstStyle>
          <a:p>
            <a:endParaRPr sz="1969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8555484-4009-44EE-8BBF-79359CAA6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085" y="265244"/>
            <a:ext cx="4089261" cy="369332"/>
          </a:xfrm>
        </p:spPr>
        <p:txBody>
          <a:bodyPr wrap="none" lIns="0" tIns="0" rIns="0" bIns="0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3" name="スライド番号">
            <a:extLst>
              <a:ext uri="{FF2B5EF4-FFF2-40B4-BE49-F238E27FC236}">
                <a16:creationId xmlns:a16="http://schemas.microsoft.com/office/drawing/2014/main" id="{6A64F4C9-9085-418D-8358-4BE5204E9B6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35CA7D96-270C-4E15-B28F-0BD8DBEBDB3F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97318550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四角形">
            <a:extLst>
              <a:ext uri="{FF2B5EF4-FFF2-40B4-BE49-F238E27FC236}">
                <a16:creationId xmlns:a16="http://schemas.microsoft.com/office/drawing/2014/main" id="{786A7F40-9C46-4EA5-B53A-A103B05FE404}"/>
              </a:ext>
            </a:extLst>
          </p:cNvPr>
          <p:cNvSpPr/>
          <p:nvPr userDrawn="1"/>
        </p:nvSpPr>
        <p:spPr>
          <a:xfrm>
            <a:off x="-1" y="-2975"/>
            <a:ext cx="9144001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32971" tIns="32971" rIns="32971" bIns="32971" numCol="1" anchor="ctr">
            <a:noAutofit/>
          </a:bodyPr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428"/>
          </a:p>
        </p:txBody>
      </p:sp>
      <p:pic>
        <p:nvPicPr>
          <p:cNvPr id="5" name="イメージ" descr="イメージ">
            <a:extLst>
              <a:ext uri="{FF2B5EF4-FFF2-40B4-BE49-F238E27FC236}">
                <a16:creationId xmlns:a16="http://schemas.microsoft.com/office/drawing/2014/main" id="{1CAAE736-A2EE-48E9-992C-A8EF503E8B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8" y="231707"/>
            <a:ext cx="1703861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C0149B33-7702-476F-8277-6FDC5F199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74" y="178595"/>
            <a:ext cx="5853946" cy="476751"/>
          </a:xfrm>
        </p:spPr>
        <p:txBody>
          <a:bodyPr>
            <a:no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8EBA4AE9-2CF0-4848-B6A0-030B8B4D021D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  <p:sp>
        <p:nvSpPr>
          <p:cNvPr id="10" name="スライド番号">
            <a:extLst>
              <a:ext uri="{FF2B5EF4-FFF2-40B4-BE49-F238E27FC236}">
                <a16:creationId xmlns:a16="http://schemas.microsoft.com/office/drawing/2014/main" id="{218E0C15-923C-48E2-9118-09A7761E1307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21307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000F3E2D-C0A5-4C6F-B4D1-183DD4835B47}"/>
              </a:ext>
            </a:extLst>
          </p:cNvPr>
          <p:cNvSpPr/>
          <p:nvPr/>
        </p:nvSpPr>
        <p:spPr>
          <a:xfrm>
            <a:off x="0" y="-4534"/>
            <a:ext cx="9144000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26789" tIns="26789" rIns="26789" bIns="26789" numCol="1" anchor="ctr">
            <a:noAutofit/>
          </a:bodyPr>
          <a:lstStyle/>
          <a:p>
            <a:pPr algn="ctr" defTabSz="308048" hangingPunct="0"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160" kern="0">
              <a:solidFill>
                <a:srgbClr val="0BBEB4"/>
              </a:solidFill>
              <a:latin typeface="游ゴシック" panose="020B0400000000000000" pitchFamily="50" charset="-128"/>
              <a:sym typeface="ヒラギノ角ゴ ProN W3"/>
            </a:endParaRPr>
          </a:p>
        </p:txBody>
      </p:sp>
      <p:pic>
        <p:nvPicPr>
          <p:cNvPr id="7" name="イメージ" descr="イメージ">
            <a:extLst>
              <a:ext uri="{FF2B5EF4-FFF2-40B4-BE49-F238E27FC236}">
                <a16:creationId xmlns:a16="http://schemas.microsoft.com/office/drawing/2014/main" id="{06A5F44B-4AA5-4398-A0B0-F748DA637B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56982" y="231689"/>
            <a:ext cx="1277895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スライド番号">
            <a:extLst>
              <a:ext uri="{FF2B5EF4-FFF2-40B4-BE49-F238E27FC236}">
                <a16:creationId xmlns:a16="http://schemas.microsoft.com/office/drawing/2014/main" id="{FF6EABCE-277B-44D2-AD56-2329B4B1EA7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750876" y="6514870"/>
            <a:ext cx="278825" cy="27571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/>
          <a:lstStyle>
            <a:lvl1pPr>
              <a:defRPr>
                <a:latin typeface="游ゴシック" panose="020B0400000000000000" pitchFamily="50" charset="-128"/>
              </a:defRPr>
            </a:lvl1pPr>
          </a:lstStyle>
          <a:p>
            <a:pPr algn="r" hangingPunct="0"/>
            <a:fld id="{86CB4B4D-7CA3-9044-876B-883B54F8677D}" type="slidenum">
              <a:rPr lang="en-US" altLang="ja-JP" smtClean="0">
                <a:cs typeface="Calibri" panose="020F0502020204030204" pitchFamily="34" charset="0"/>
              </a:rPr>
              <a:pPr algn="r" hangingPunct="0"/>
              <a:t>‹#›</a:t>
            </a:fld>
            <a:endParaRPr lang="ja-JP" altLang="en-US">
              <a:cs typeface="Calibri" panose="020F050202020403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C3FC73F-DD43-4EE8-959C-6DE8B970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189" y="230131"/>
            <a:ext cx="4493182" cy="423638"/>
          </a:xfrm>
        </p:spPr>
        <p:txBody>
          <a:bodyPr>
            <a:normAutofit/>
          </a:bodyPr>
          <a:lstStyle>
            <a:lvl1pPr algn="l">
              <a:defRPr sz="18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図プレースホルダー 18">
            <a:extLst>
              <a:ext uri="{FF2B5EF4-FFF2-40B4-BE49-F238E27FC236}">
                <a16:creationId xmlns:a16="http://schemas.microsoft.com/office/drawing/2014/main" id="{F3054364-9218-4866-9A6F-B5BC6542D9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0509" y="1123101"/>
            <a:ext cx="8722984" cy="5480513"/>
          </a:xfrm>
        </p:spPr>
        <p:txBody>
          <a:bodyPr/>
          <a:lstStyle>
            <a:lvl1pPr>
              <a:defRPr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endParaRPr kumimoji="1" lang="ja-JP" altLang="en-US"/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CC0E3D55-B6D2-4E06-8396-A4FA93DC2150}"/>
              </a:ext>
            </a:extLst>
          </p:cNvPr>
          <p:cNvSpPr txBox="1"/>
          <p:nvPr userDrawn="1"/>
        </p:nvSpPr>
        <p:spPr>
          <a:xfrm>
            <a:off x="2506019" y="6584539"/>
            <a:ext cx="4131964" cy="189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4110" rIns="24110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633">
                <a:latin typeface="游ゴシック" panose="020B0400000000000000" pitchFamily="50" charset="-128"/>
                <a:ea typeface="游ゴシック" panose="020B0400000000000000" pitchFamily="50" charset="-128"/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23482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122139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2078" y="80777"/>
            <a:ext cx="6773964" cy="22881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buNone/>
              <a:defRPr sz="1107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  <a:lvl2pPr marL="422009" indent="0" algn="ctr">
              <a:buNone/>
              <a:defRPr sz="1846"/>
            </a:lvl2pPr>
            <a:lvl3pPr marL="844018" indent="0" algn="ctr">
              <a:buNone/>
              <a:defRPr sz="1661"/>
            </a:lvl3pPr>
            <a:lvl4pPr marL="1266027" indent="0" algn="ctr">
              <a:buNone/>
              <a:defRPr sz="1477"/>
            </a:lvl4pPr>
            <a:lvl5pPr marL="1688037" indent="0" algn="ctr">
              <a:buNone/>
              <a:defRPr sz="1477"/>
            </a:lvl5pPr>
            <a:lvl6pPr marL="2110046" indent="0" algn="ctr">
              <a:buNone/>
              <a:defRPr sz="1477"/>
            </a:lvl6pPr>
            <a:lvl7pPr marL="2532055" indent="0" algn="ctr">
              <a:buNone/>
              <a:defRPr sz="1477"/>
            </a:lvl7pPr>
            <a:lvl8pPr marL="2954064" indent="0" algn="ctr">
              <a:buNone/>
              <a:defRPr sz="1477"/>
            </a:lvl8pPr>
            <a:lvl9pPr marL="3376073" indent="0" algn="ctr">
              <a:buNone/>
              <a:defRPr sz="147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98127" y="6433353"/>
            <a:ext cx="41477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56482" y="6433353"/>
            <a:ext cx="1096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7">
                <a:solidFill>
                  <a:srgbClr val="37474F"/>
                </a:solidFill>
              </a:defRPr>
            </a:lvl1pPr>
          </a:lstStyle>
          <a:p>
            <a:fld id="{66DCAD7C-F911-9F49-9CD8-C4F52DC71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2078" y="300649"/>
            <a:ext cx="6773964" cy="376017"/>
          </a:xfrm>
          <a:prstGeom prst="rect">
            <a:avLst/>
          </a:prstGeom>
        </p:spPr>
        <p:txBody>
          <a:bodyPr/>
          <a:lstStyle>
            <a:lvl1pPr>
              <a:defRPr sz="1661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61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336937711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画像（横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四角形">
            <a:extLst>
              <a:ext uri="{FF2B5EF4-FFF2-40B4-BE49-F238E27FC236}">
                <a16:creationId xmlns:a16="http://schemas.microsoft.com/office/drawing/2014/main" id="{E73B259F-7EEC-45EE-8F52-720326A555BC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4" name="イメージ" descr="イメージ">
            <a:extLst>
              <a:ext uri="{FF2B5EF4-FFF2-40B4-BE49-F238E27FC236}">
                <a16:creationId xmlns:a16="http://schemas.microsoft.com/office/drawing/2014/main" id="{3333FFB4-7741-4503-9E83-391F7F7390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696" y="2153510"/>
            <a:ext cx="3425036" cy="1141685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7" descr="Picture 7">
            <a:extLst>
              <a:ext uri="{FF2B5EF4-FFF2-40B4-BE49-F238E27FC236}">
                <a16:creationId xmlns:a16="http://schemas.microsoft.com/office/drawing/2014/main" id="{3805C908-5859-492C-84A3-DD451089F3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293" y="1833238"/>
            <a:ext cx="4122754" cy="2560913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図 1" descr="図 1">
            <a:extLst>
              <a:ext uri="{FF2B5EF4-FFF2-40B4-BE49-F238E27FC236}">
                <a16:creationId xmlns:a16="http://schemas.microsoft.com/office/drawing/2014/main" id="{80C9FEF1-260F-4BCD-84FA-568186F693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9502" y="4581021"/>
            <a:ext cx="574904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2" descr="Picture 2">
            <a:extLst>
              <a:ext uri="{FF2B5EF4-FFF2-40B4-BE49-F238E27FC236}">
                <a16:creationId xmlns:a16="http://schemas.microsoft.com/office/drawing/2014/main" id="{E9C48300-D88B-452A-8F08-4F28C3CC9A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947" y="4581021"/>
            <a:ext cx="675250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 descr="テキスト&#10;&#10;自動的に生成された説明">
            <a:extLst>
              <a:ext uri="{FF2B5EF4-FFF2-40B4-BE49-F238E27FC236}">
                <a16:creationId xmlns:a16="http://schemas.microsoft.com/office/drawing/2014/main" id="{B42F2804-FD78-4801-A9E8-C4D1C5D821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984" y="4712100"/>
            <a:ext cx="1051976" cy="41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7153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E9D97FD3-A3EB-4170-B945-A9E5CE36649B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6" name="イメージ" descr="イメージ">
            <a:extLst>
              <a:ext uri="{FF2B5EF4-FFF2-40B4-BE49-F238E27FC236}">
                <a16:creationId xmlns:a16="http://schemas.microsoft.com/office/drawing/2014/main" id="{30E3A4A0-2D6F-4AF3-B046-9AB95F23E8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-2003299" y="2763862"/>
            <a:ext cx="5349890" cy="133016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DF3D019E-C4F7-4279-8F91-9DDC7E12A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035" y="3229592"/>
            <a:ext cx="4293167" cy="389530"/>
          </a:xfrm>
        </p:spPr>
        <p:txBody>
          <a:bodyPr wrap="none" lIns="0" tIns="0" rIns="0" bIns="0">
            <a:spAutoFit/>
          </a:bodyPr>
          <a:lstStyle>
            <a:lvl1pPr>
              <a:defRPr sz="2531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7" name="Footer Placeholder 9">
            <a:extLst>
              <a:ext uri="{FF2B5EF4-FFF2-40B4-BE49-F238E27FC236}">
                <a16:creationId xmlns:a16="http://schemas.microsoft.com/office/drawing/2014/main" id="{0839F4FB-A6E8-4400-9849-C60ECC3A81C2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>
                <a:solidFill>
                  <a:schemeClr val="bg1"/>
                </a:solidFill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69191955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中央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2268141"/>
            <a:ext cx="7358063" cy="2321719"/>
          </a:xfrm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3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縦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446484"/>
            <a:ext cx="3750469" cy="577750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6" y="446484"/>
            <a:ext cx="3750469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タイトルテキスト</a:t>
            </a:r>
          </a:p>
        </p:txBody>
      </p:sp>
      <p:sp>
        <p:nvSpPr>
          <p:cNvPr id="40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669726" y="3321844"/>
            <a:ext cx="3750469" cy="28932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4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49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&amp;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57" name="本文レベル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58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、箇条書き、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1821656"/>
            <a:ext cx="3750469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67" name="本文レベル1…"/>
          <p:cNvSpPr txBox="1">
            <a:spLocks noGrp="1"/>
          </p:cNvSpPr>
          <p:nvPr>
            <p:ph type="body" sz="half" idx="1"/>
          </p:nvPr>
        </p:nvSpPr>
        <p:spPr>
          <a:xfrm>
            <a:off x="669726" y="1821656"/>
            <a:ext cx="3750469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68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4165" y="6536531"/>
            <a:ext cx="270908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ヒラギノ角ゴ ProN W3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892969"/>
            <a:ext cx="7804547" cy="5072063"/>
          </a:xfrm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7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2EF62F-4645-3B8F-5582-ABAAA5CB5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0123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2" imgW="624" imgH="623" progId="TCLayout.ActiveDocument.1">
                  <p:embed/>
                </p:oleObj>
              </mc:Choice>
              <mc:Fallback>
                <p:oleObj name="think-cell スライド" r:id="rId22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2EF62F-4645-3B8F-5582-ABAAA5CB5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7" y="178594"/>
            <a:ext cx="7804547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タイトルテキスト</a:t>
            </a:r>
          </a:p>
        </p:txBody>
      </p:sp>
      <p:sp>
        <p:nvSpPr>
          <p:cNvPr id="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10121" y="6536531"/>
            <a:ext cx="318998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1821656"/>
            <a:ext cx="7804547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3" r:id="rId14"/>
    <p:sldLayoutId id="2147483714" r:id="rId15"/>
    <p:sldLayoutId id="2147483715" r:id="rId16"/>
    <p:sldLayoutId id="2147483716" r:id="rId17"/>
    <p:sldLayoutId id="2147483717" r:id="rId18"/>
    <p:sldLayoutId id="2147483678" r:id="rId19"/>
  </p:sldLayoutIdLst>
  <p:transition spd="med"/>
  <p:hf hdr="0" ftr="0" dt="0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bodyStyle>
    <p:otherStyle>
      <a:lvl1pPr marL="0" marR="0" indent="0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607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321457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482186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642915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803643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964372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125101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2858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7820" y="3231996"/>
            <a:ext cx="1923604" cy="384721"/>
          </a:xfrm>
        </p:spPr>
        <p:txBody>
          <a:bodyPr/>
          <a:lstStyle/>
          <a:p>
            <a:r>
              <a:rPr lang="ja-JP" altLang="en-US" sz="2500">
                <a:latin typeface="游ゴシック"/>
                <a:ea typeface="游ゴシック"/>
                <a:cs typeface="HGMaruGothicMPRO" charset="-128"/>
              </a:rPr>
              <a:t>４．配信設定</a:t>
            </a:r>
            <a:endParaRPr lang="ja-JP" altLang="en-US" sz="2500">
              <a:latin typeface="游ゴシック"/>
              <a:ea typeface="游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86832234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282803" y="178595"/>
            <a:ext cx="8436830" cy="476751"/>
          </a:xfrm>
        </p:spPr>
        <p:txBody>
          <a:bodyPr/>
          <a:lstStyle/>
          <a:p>
            <a:r>
              <a:rPr lang="en-US" altLang="ja-JP" dirty="0" err="1">
                <a:ea typeface="游ゴシック"/>
                <a:cs typeface="源真ゴシック Bold" panose="020B0602020203020207" pitchFamily="50" charset="-128"/>
              </a:rPr>
              <a:t>配信準備について</a:t>
            </a:r>
            <a:r>
              <a:rPr lang="ja-JP" altLang="en-US" b="1">
                <a:ea typeface="游ゴシック"/>
                <a:cs typeface="源真ゴシック Bold" panose="020B0602020203020207" pitchFamily="50" charset="-128"/>
              </a:rPr>
              <a:t>ご注意を！</a:t>
            </a: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35B410B3-1B2A-4296-99A6-3E40ADB0E1F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10</a:t>
            </a:fld>
            <a:endParaRPr lang="ja-JP" altLang="en-US"/>
          </a:p>
        </p:txBody>
      </p:sp>
      <p:sp>
        <p:nvSpPr>
          <p:cNvPr id="39" name="テキスト ボックス 26">
            <a:extLst>
              <a:ext uri="{FF2B5EF4-FFF2-40B4-BE49-F238E27FC236}">
                <a16:creationId xmlns:a16="http://schemas.microsoft.com/office/drawing/2014/main" id="{14151E8B-57AF-4800-930F-8119584200C6}"/>
              </a:ext>
            </a:extLst>
          </p:cNvPr>
          <p:cNvSpPr txBox="1"/>
          <p:nvPr/>
        </p:nvSpPr>
        <p:spPr>
          <a:xfrm>
            <a:off x="562708" y="1296865"/>
            <a:ext cx="801858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altLang="ja-JP" sz="1600" b="1" dirty="0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CSV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のアップロード/配信設定が間に合わず、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源真ゴシック Bold" panose="020B0602020203020207" pitchFamily="50" charset="-128"/>
              </a:rPr>
              <a:t>予定されていた配信日に配信できないケースがございます。</a:t>
            </a:r>
            <a:endParaRPr lang="en-US" altLang="ja-JP" sz="16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余裕をもった配信準備をお願いいたします！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pic>
        <p:nvPicPr>
          <p:cNvPr id="45" name="Google Shape;115;p2" descr="イメージ">
            <a:extLst>
              <a:ext uri="{FF2B5EF4-FFF2-40B4-BE49-F238E27FC236}">
                <a16:creationId xmlns:a16="http://schemas.microsoft.com/office/drawing/2014/main" id="{179D440A-3D64-47E9-98EE-AA581F8387A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5712" y="4197599"/>
            <a:ext cx="1318958" cy="150298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吹き出し: 角を丸めた四角形 2">
            <a:extLst>
              <a:ext uri="{FF2B5EF4-FFF2-40B4-BE49-F238E27FC236}">
                <a16:creationId xmlns:a16="http://schemas.microsoft.com/office/drawing/2014/main" id="{2F86B5E8-C8E9-41CD-BE30-5968F7DC91C9}"/>
              </a:ext>
            </a:extLst>
          </p:cNvPr>
          <p:cNvSpPr/>
          <p:nvPr/>
        </p:nvSpPr>
        <p:spPr>
          <a:xfrm>
            <a:off x="5103340" y="2888382"/>
            <a:ext cx="2264523" cy="1303203"/>
          </a:xfrm>
          <a:prstGeom prst="wedgeRoundRectCallout">
            <a:avLst>
              <a:gd name="adj1" fmla="val 28173"/>
              <a:gd name="adj2" fmla="val 78362"/>
              <a:gd name="adj3" fmla="val 16667"/>
            </a:avLst>
          </a:prstGeom>
          <a:solidFill>
            <a:srgbClr val="E76D6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584200"/>
            <a:r>
              <a:rPr lang="ja-JP" altLang="en-US" sz="1400" b="1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組織</a:t>
            </a:r>
            <a:r>
              <a:rPr lang="en-US" altLang="ja-JP" sz="1400" b="1" dirty="0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/</a:t>
            </a:r>
            <a:r>
              <a:rPr lang="ja-JP" altLang="en-US" sz="1400" b="1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従業員情報のアップロードと配信設定は</a:t>
            </a:r>
            <a:endParaRPr lang="en-US" altLang="ja-JP" sz="1400" b="1">
              <a:solidFill>
                <a:schemeClr val="bg1"/>
              </a:solidFill>
              <a:latin typeface="游ゴシック"/>
              <a:ea typeface="游ゴシック"/>
              <a:sym typeface="ヒラギノ角ゴ ProN W3"/>
            </a:endParaRPr>
          </a:p>
          <a:p>
            <a:pPr marL="0" marR="0" indent="0" algn="ctr" defTabSz="584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ja-JP" altLang="en-US" sz="1400" b="1">
                <a:solidFill>
                  <a:schemeClr val="bg1"/>
                </a:solidFill>
                <a:latin typeface="游ゴシック"/>
                <a:ea typeface="游ゴシック"/>
                <a:sym typeface="ヒラギノ角ゴ ProN W3"/>
              </a:rPr>
              <a:t>早めにしたほうがよさそうだな</a:t>
            </a:r>
            <a:endParaRPr lang="en-US" altLang="ja-JP" sz="1400" b="1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6" name="ホームベース 28">
            <a:extLst>
              <a:ext uri="{FF2B5EF4-FFF2-40B4-BE49-F238E27FC236}">
                <a16:creationId xmlns:a16="http://schemas.microsoft.com/office/drawing/2014/main" id="{FE7B1B26-211E-DC06-C706-1A77070228CC}"/>
              </a:ext>
            </a:extLst>
          </p:cNvPr>
          <p:cNvSpPr/>
          <p:nvPr/>
        </p:nvSpPr>
        <p:spPr>
          <a:xfrm>
            <a:off x="2371827" y="3109250"/>
            <a:ext cx="1778611" cy="2618822"/>
          </a:xfrm>
          <a:prstGeom prst="homePlate">
            <a:avLst>
              <a:gd name="adj" fmla="val 32311"/>
            </a:avLst>
          </a:prstGeom>
          <a:solidFill>
            <a:srgbClr val="C0C4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【アンケート配信】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午前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1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時以降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順次配信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endParaRPr lang="en-US" altLang="ja-JP" sz="11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配信は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週間程度を推奨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8" name="正方形/長方形 44">
            <a:extLst>
              <a:ext uri="{FF2B5EF4-FFF2-40B4-BE49-F238E27FC236}">
                <a16:creationId xmlns:a16="http://schemas.microsoft.com/office/drawing/2014/main" id="{C463061B-6736-AC12-D16F-133A46566376}"/>
              </a:ext>
            </a:extLst>
          </p:cNvPr>
          <p:cNvSpPr>
            <a:spLocks noChangeAspect="1"/>
          </p:cNvSpPr>
          <p:nvPr/>
        </p:nvSpPr>
        <p:spPr>
          <a:xfrm>
            <a:off x="868005" y="2568874"/>
            <a:ext cx="1504783" cy="303860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～配信開始３営業日前</a:t>
            </a:r>
          </a:p>
        </p:txBody>
      </p:sp>
      <p:sp>
        <p:nvSpPr>
          <p:cNvPr id="10" name="正方形/長方形 48">
            <a:extLst>
              <a:ext uri="{FF2B5EF4-FFF2-40B4-BE49-F238E27FC236}">
                <a16:creationId xmlns:a16="http://schemas.microsoft.com/office/drawing/2014/main" id="{856F2529-30A3-4F50-ED4C-55E2BE3B9E0B}"/>
              </a:ext>
            </a:extLst>
          </p:cNvPr>
          <p:cNvSpPr>
            <a:spLocks noChangeAspect="1"/>
          </p:cNvSpPr>
          <p:nvPr/>
        </p:nvSpPr>
        <p:spPr>
          <a:xfrm>
            <a:off x="2377783" y="2565135"/>
            <a:ext cx="1776574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開始日</a:t>
            </a:r>
            <a:endParaRPr lang="ja-JP" altLang="en-US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12" name="ホームベース 49">
            <a:extLst>
              <a:ext uri="{FF2B5EF4-FFF2-40B4-BE49-F238E27FC236}">
                <a16:creationId xmlns:a16="http://schemas.microsoft.com/office/drawing/2014/main" id="{626C2BC2-6EF6-7745-7642-B4B3BFB90A78}"/>
              </a:ext>
            </a:extLst>
          </p:cNvPr>
          <p:cNvSpPr/>
          <p:nvPr/>
        </p:nvSpPr>
        <p:spPr>
          <a:xfrm>
            <a:off x="842096" y="4524127"/>
            <a:ext cx="1530693" cy="952309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 w="285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72000" bIns="45720" rtlCol="0" anchor="ctr"/>
          <a:lstStyle/>
          <a:p>
            <a:pPr algn="ctr"/>
            <a:r>
              <a:rPr lang="ja-JP" altLang="en-US" sz="1100" b="1" dirty="0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準備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 dirty="0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組織/従業員CSV作成・アップロード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 dirty="0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設定</a:t>
            </a:r>
          </a:p>
        </p:txBody>
      </p:sp>
      <p:sp>
        <p:nvSpPr>
          <p:cNvPr id="14" name="ホームベース 49">
            <a:extLst>
              <a:ext uri="{FF2B5EF4-FFF2-40B4-BE49-F238E27FC236}">
                <a16:creationId xmlns:a16="http://schemas.microsoft.com/office/drawing/2014/main" id="{93F63AF9-2D0D-C1E3-8C25-77DAF2888117}"/>
              </a:ext>
            </a:extLst>
          </p:cNvPr>
          <p:cNvSpPr/>
          <p:nvPr/>
        </p:nvSpPr>
        <p:spPr>
          <a:xfrm>
            <a:off x="844692" y="3363252"/>
            <a:ext cx="1528098" cy="952309"/>
          </a:xfrm>
          <a:prstGeom prst="homePlate">
            <a:avLst>
              <a:gd name="adj" fmla="val 32311"/>
            </a:avLst>
          </a:prstGeom>
          <a:solidFill>
            <a:srgbClr val="C0C4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従業員への周知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2365429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717" y="2847276"/>
            <a:ext cx="4167809" cy="1154162"/>
          </a:xfrm>
        </p:spPr>
        <p:txBody>
          <a:bodyPr/>
          <a:lstStyle/>
          <a:p>
            <a:r>
              <a:rPr lang="ja-JP" altLang="en-US" sz="2500">
                <a:latin typeface="游ゴシック"/>
                <a:ea typeface="游ゴシック"/>
                <a:cs typeface="HGMaruGothicMPRO" charset="-128"/>
              </a:rPr>
              <a:t>４．配信設定　🙌完了🙌</a:t>
            </a:r>
            <a:br>
              <a:rPr lang="ja-JP" altLang="en-US" sz="2500" dirty="0">
                <a:latin typeface="游ゴシック"/>
                <a:ea typeface="游ゴシック"/>
                <a:cs typeface="HGMaruGothicMPRO" charset="-128"/>
              </a:rPr>
            </a:br>
            <a:br>
              <a:rPr lang="ja-JP" altLang="en-US" sz="2500" dirty="0">
                <a:latin typeface="游ゴシック"/>
                <a:ea typeface="游ゴシック"/>
              </a:rPr>
            </a:br>
            <a:r>
              <a:rPr lang="ja-JP" altLang="en-US" sz="2500">
                <a:latin typeface="游ゴシック"/>
                <a:ea typeface="游ゴシック"/>
              </a:rPr>
              <a:t>⇨５．回答催促・リマインド</a:t>
            </a:r>
          </a:p>
        </p:txBody>
      </p:sp>
    </p:spTree>
    <p:extLst>
      <p:ext uri="{BB962C8B-B14F-4D97-AF65-F5344CB8AC3E}">
        <p14:creationId xmlns:p14="http://schemas.microsoft.com/office/powerpoint/2010/main" val="290588418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395085" y="265244"/>
            <a:ext cx="6155531" cy="369332"/>
          </a:xfrm>
        </p:spPr>
        <p:txBody>
          <a:bodyPr/>
          <a:lstStyle/>
          <a:p>
            <a:r>
              <a:rPr lang="ja-JP" altLang="en-US">
                <a:cs typeface="HGMaruGothicMPRO" charset="-128"/>
              </a:rPr>
              <a:t>導入準備～配信までにご対応いただくこと～</a:t>
            </a:r>
            <a:endParaRPr kumimoji="1" lang="ja-JP" altLang="en-US"/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A22E23B7-EBF9-4687-B94D-873BAF73537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2</a:t>
            </a:fld>
            <a:endParaRPr lang="ja-JP" altLang="en-US"/>
          </a:p>
        </p:txBody>
      </p: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8DDA99C3-FBAC-4A99-88A6-7FE9FB75A5E7}"/>
              </a:ext>
            </a:extLst>
          </p:cNvPr>
          <p:cNvGrpSpPr/>
          <p:nvPr/>
        </p:nvGrpSpPr>
        <p:grpSpPr>
          <a:xfrm>
            <a:off x="494959" y="2053516"/>
            <a:ext cx="8154082" cy="4115855"/>
            <a:chOff x="494959" y="1350509"/>
            <a:chExt cx="8154082" cy="4758387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73581F51-8FA0-4CA8-9385-08B2AB1D9E23}"/>
                </a:ext>
              </a:extLst>
            </p:cNvPr>
            <p:cNvSpPr/>
            <p:nvPr/>
          </p:nvSpPr>
          <p:spPr>
            <a:xfrm>
              <a:off x="1524711" y="1350509"/>
              <a:ext cx="2738762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2000" b="1" i="0" u="sng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CSV</a:t>
              </a:r>
              <a:r>
                <a:rPr kumimoji="0" lang="ja-JP" altLang="en-US" sz="2000" b="1" i="0" u="sng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登録</a:t>
              </a: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0601EBB8-EDFB-48DE-AF80-1BC165C73C78}"/>
                </a:ext>
              </a:extLst>
            </p:cNvPr>
            <p:cNvSpPr/>
            <p:nvPr/>
          </p:nvSpPr>
          <p:spPr>
            <a:xfrm>
              <a:off x="1009835" y="1350509"/>
              <a:ext cx="447810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2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1</a:t>
              </a: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777950C4-C430-49E3-B32A-A11426E5C68B}"/>
                </a:ext>
              </a:extLst>
            </p:cNvPr>
            <p:cNvSpPr/>
            <p:nvPr/>
          </p:nvSpPr>
          <p:spPr>
            <a:xfrm>
              <a:off x="4330539" y="1350509"/>
              <a:ext cx="4318502" cy="1503925"/>
            </a:xfrm>
            <a:prstGeom prst="rect">
              <a:avLst/>
            </a:prstGeom>
            <a:noFill/>
            <a:ln w="19050" cap="flat">
              <a:solidFill>
                <a:srgbClr val="00206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組織</a:t>
              </a:r>
              <a:r>
                <a:rPr lang="en-US" altLang="ja-JP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CSV</a:t>
              </a: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と従業員</a:t>
              </a:r>
              <a:r>
                <a:rPr lang="en-US" altLang="ja-JP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CSV</a:t>
              </a: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の作成、アップロード</a:t>
              </a:r>
              <a:endParaRPr kumimoji="0" lang="ja-JP" altLang="en-US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323B230B-C82D-4F20-ADF6-E7761B0B7740}"/>
                </a:ext>
              </a:extLst>
            </p:cNvPr>
            <p:cNvSpPr/>
            <p:nvPr/>
          </p:nvSpPr>
          <p:spPr>
            <a:xfrm>
              <a:off x="1524711" y="2977740"/>
              <a:ext cx="2738762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000" b="1" u="sng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配信設定</a:t>
              </a:r>
              <a:endParaRPr kumimoji="0" lang="ja-JP" altLang="en-US" sz="2000" b="1" i="0" u="sng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11B5E580-4DFB-4809-A1EF-07CE5F18CA34}"/>
                </a:ext>
              </a:extLst>
            </p:cNvPr>
            <p:cNvSpPr/>
            <p:nvPr/>
          </p:nvSpPr>
          <p:spPr>
            <a:xfrm>
              <a:off x="1009835" y="2977740"/>
              <a:ext cx="447810" cy="1503925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2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2</a:t>
              </a: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E392E8BE-A7B6-40AC-B886-63F7EEFBE574}"/>
                </a:ext>
              </a:extLst>
            </p:cNvPr>
            <p:cNvSpPr/>
            <p:nvPr/>
          </p:nvSpPr>
          <p:spPr>
            <a:xfrm>
              <a:off x="4330539" y="2977740"/>
              <a:ext cx="4318502" cy="1503925"/>
            </a:xfrm>
            <a:prstGeom prst="rect">
              <a:avLst/>
            </a:prstGeom>
            <a:noFill/>
            <a:ln w="19050" cap="flat">
              <a:solidFill>
                <a:srgbClr val="002060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ja-JP" altLang="en-US" sz="20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サーベイ名称</a:t>
              </a:r>
              <a:endParaRPr kumimoji="0" lang="en-US" altLang="ja-JP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ja-JP" altLang="en-US" sz="20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サーベイ実施期間</a:t>
              </a:r>
              <a:endParaRPr kumimoji="0" lang="en-US" altLang="ja-JP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実施形式（記名式</a:t>
              </a:r>
              <a:r>
                <a:rPr lang="en-US" altLang="ja-JP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or</a:t>
              </a:r>
              <a:r>
                <a:rPr lang="ja-JP" altLang="en-US" sz="2000">
                  <a:solidFill>
                    <a:srgbClr val="002060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匿名式）</a:t>
              </a:r>
              <a:endParaRPr kumimoji="0" lang="ja-JP" altLang="en-US" sz="20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B20671FD-EDA8-46D5-9DC7-BE0CF6B1DF9E}"/>
                </a:ext>
              </a:extLst>
            </p:cNvPr>
            <p:cNvSpPr/>
            <p:nvPr/>
          </p:nvSpPr>
          <p:spPr>
            <a:xfrm>
              <a:off x="1524711" y="4604971"/>
              <a:ext cx="2738762" cy="1503925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ja-JP" altLang="en-US" sz="2000" b="1" i="0" u="sng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ヒラギノ角ゴ ProN W3"/>
                </a:rPr>
                <a:t>オプション設定</a:t>
              </a:r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DA403605-B13F-4302-8572-E9A2CEC65A92}"/>
                </a:ext>
              </a:extLst>
            </p:cNvPr>
            <p:cNvSpPr/>
            <p:nvPr/>
          </p:nvSpPr>
          <p:spPr>
            <a:xfrm>
              <a:off x="1009835" y="4604971"/>
              <a:ext cx="447810" cy="1503925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2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3</a:t>
              </a:r>
            </a:p>
          </p:txBody>
        </p:sp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E8E265E2-0041-45F9-84F7-88D89888751C}"/>
                </a:ext>
              </a:extLst>
            </p:cNvPr>
            <p:cNvSpPr/>
            <p:nvPr/>
          </p:nvSpPr>
          <p:spPr>
            <a:xfrm>
              <a:off x="4330539" y="4604971"/>
              <a:ext cx="4318502" cy="1503925"/>
            </a:xfrm>
            <a:prstGeom prst="rect">
              <a:avLst/>
            </a:prstGeom>
            <a:noFill/>
            <a:ln w="19050" cap="flat">
              <a:solidFill>
                <a:srgbClr val="5E5E5E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役職マスタ・職種マスタの登録（</a:t>
              </a:r>
              <a:r>
                <a:rPr lang="en-US" altLang="ja-JP" sz="2000" dirty="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※</a:t>
              </a:r>
              <a:r>
                <a:rPr lang="ja-JP" altLang="en-US" sz="200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従業員</a:t>
              </a:r>
              <a:r>
                <a:rPr lang="en-US" altLang="ja-JP" sz="2000" dirty="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CSV</a:t>
              </a:r>
              <a:r>
                <a:rPr lang="ja-JP" altLang="en-US" sz="2000">
                  <a:solidFill>
                    <a:srgbClr val="5E5E5E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作成前に実施）</a:t>
              </a:r>
              <a:endParaRPr lang="en-US" altLang="ja-JP" sz="2000">
                <a:solidFill>
                  <a:srgbClr val="5E5E5E"/>
                </a:solidFill>
                <a:latin typeface="+mn-lt"/>
                <a:ea typeface="游ゴシック"/>
                <a:cs typeface="+mn-cs"/>
                <a:sym typeface="ヒラギノ角ゴ ProN W3"/>
              </a:endParaRPr>
            </a:p>
            <a:p>
              <a:pPr marL="342900" marR="0" indent="-342900" algn="l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ja-JP" altLang="en-US" sz="2000">
                  <a:solidFill>
                    <a:srgbClr val="FF0000"/>
                  </a:solidFill>
                  <a:latin typeface="+mn-lt"/>
                  <a:ea typeface="游ゴシック"/>
                  <a:cs typeface="+mn-cs"/>
                  <a:sym typeface="ヒラギノ角ゴ ProN W3"/>
                </a:rPr>
                <a:t>追加設問設定</a:t>
              </a:r>
              <a:endParaRPr lang="ja-JP" altLang="en-US" sz="2000" b="0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游ゴシック"/>
                <a:cs typeface="+mn-cs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7AFD280A-722D-4144-B47E-B37BE3F65A28}"/>
                </a:ext>
              </a:extLst>
            </p:cNvPr>
            <p:cNvSpPr/>
            <p:nvPr/>
          </p:nvSpPr>
          <p:spPr>
            <a:xfrm>
              <a:off x="494959" y="1350509"/>
              <a:ext cx="447810" cy="3131156"/>
            </a:xfrm>
            <a:prstGeom prst="rect">
              <a:avLst/>
            </a:prstGeom>
            <a:solidFill>
              <a:srgbClr val="00206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eaVert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必須</a:t>
              </a:r>
              <a:endParaRPr lang="en-US" altLang="ja-JP" sz="2200">
                <a:solidFill>
                  <a:srgbClr val="FFFFFF"/>
                </a:solidFill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CF70A997-3EF0-4BD5-85D7-A9FD7D8B1E88}"/>
                </a:ext>
              </a:extLst>
            </p:cNvPr>
            <p:cNvSpPr/>
            <p:nvPr/>
          </p:nvSpPr>
          <p:spPr>
            <a:xfrm>
              <a:off x="494959" y="4604970"/>
              <a:ext cx="447810" cy="1503925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eaVert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20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ヒラギノ角ゴ ProN W3"/>
                </a:rPr>
                <a:t>任意</a:t>
              </a:r>
              <a:endParaRPr lang="en-US" altLang="ja-JP" sz="2200">
                <a:solidFill>
                  <a:srgbClr val="FFFFFF"/>
                </a:solidFill>
                <a:latin typeface="+mn-lt"/>
                <a:ea typeface="+mn-ea"/>
                <a:cs typeface="+mn-cs"/>
                <a:sym typeface="ヒラギノ角ゴ ProN W3"/>
              </a:endParaRPr>
            </a:p>
          </p:txBody>
        </p:sp>
      </p:grpSp>
      <p:sp>
        <p:nvSpPr>
          <p:cNvPr id="39" name="テキスト ボックス 14">
            <a:extLst>
              <a:ext uri="{FF2B5EF4-FFF2-40B4-BE49-F238E27FC236}">
                <a16:creationId xmlns:a16="http://schemas.microsoft.com/office/drawing/2014/main" id="{9BB7B2EC-3FEC-4BAB-BB98-722489589888}"/>
              </a:ext>
            </a:extLst>
          </p:cNvPr>
          <p:cNvSpPr txBox="1"/>
          <p:nvPr/>
        </p:nvSpPr>
        <p:spPr>
          <a:xfrm>
            <a:off x="481338" y="1285085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altLang="ja-JP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CSV</a:t>
            </a:r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登録と配信設定が完了すれば設定した開始日にサーベイが配信されます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69B0569-F40D-F9CD-E73A-E41DA3D86505}"/>
              </a:ext>
            </a:extLst>
          </p:cNvPr>
          <p:cNvSpPr/>
          <p:nvPr/>
        </p:nvSpPr>
        <p:spPr>
          <a:xfrm>
            <a:off x="967409" y="3424581"/>
            <a:ext cx="7739266" cy="1367180"/>
          </a:xfrm>
          <a:prstGeom prst="rect">
            <a:avLst/>
          </a:prstGeom>
          <a:noFill/>
          <a:ln w="28575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 marL="0" marR="0" indent="0" algn="l" defTabSz="642915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66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1pPr>
            <a:lvl2pPr marL="0" marR="0" indent="160729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2pPr>
            <a:lvl3pPr marL="0" marR="0" indent="321457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3pPr>
            <a:lvl4pPr marL="0" marR="0" indent="482186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4pPr>
            <a:lvl5pPr marL="0" marR="0" indent="642915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5pPr>
            <a:lvl6pPr marL="0" marR="0" indent="803643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6pPr>
            <a:lvl7pPr marL="0" marR="0" indent="964372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7pPr>
            <a:lvl8pPr marL="0" marR="0" indent="1125101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8pPr>
            <a:lvl9pPr marL="0" marR="0" indent="1285829" algn="ctr" defTabSz="41075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ヒラギノ角ゴ ProN W6"/>
                <a:ea typeface="ヒラギノ角ゴ ProN W6"/>
                <a:cs typeface="ヒラギノ角ゴ ProN W6"/>
                <a:sym typeface="ヒラギノ角ゴ ProN W6"/>
              </a:defRPr>
            </a:lvl9pPr>
          </a:lstStyle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77241650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ボックス 14">
            <a:extLst>
              <a:ext uri="{FF2B5EF4-FFF2-40B4-BE49-F238E27FC236}">
                <a16:creationId xmlns:a16="http://schemas.microsoft.com/office/drawing/2014/main" id="{EBBAF913-E462-4F1B-A66B-7A25C4791A55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新規サーベイの作成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21" name="テキスト ボックス 14">
            <a:extLst>
              <a:ext uri="{FF2B5EF4-FFF2-40B4-BE49-F238E27FC236}">
                <a16:creationId xmlns:a16="http://schemas.microsoft.com/office/drawing/2014/main" id="{FA97E5B7-348F-432C-B1F5-1DD42A542E94}"/>
              </a:ext>
            </a:extLst>
          </p:cNvPr>
          <p:cNvSpPr txBox="1"/>
          <p:nvPr/>
        </p:nvSpPr>
        <p:spPr>
          <a:xfrm>
            <a:off x="1182300" y="1923177"/>
            <a:ext cx="7310817" cy="546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組織サーベイメニューのサーベイ一覧より、</a:t>
            </a:r>
            <a:endParaRPr lang="en-US" altLang="ja-JP" sz="1477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r>
              <a:rPr lang="en-US" altLang="ja-JP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【</a:t>
            </a:r>
            <a:r>
              <a:rPr lang="ja-JP" altLang="en-US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新規サーベイ作成</a:t>
            </a:r>
            <a:r>
              <a:rPr lang="en-US" altLang="ja-JP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】</a:t>
            </a:r>
            <a:r>
              <a:rPr lang="ja-JP" altLang="en-US" sz="1477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をクリックし、設定を行います。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395085" y="298426"/>
            <a:ext cx="2777202" cy="302967"/>
          </a:xfrm>
        </p:spPr>
        <p:txBody>
          <a:bodyPr/>
          <a:lstStyle/>
          <a:p>
            <a:r>
              <a:rPr lang="ja-JP" altLang="en-US">
                <a:cs typeface="HGMaruGothicMPRO" charset="-128"/>
              </a:rPr>
              <a:t>組織サーベイの配信設定</a:t>
            </a:r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B3D3047-6AB1-4370-84E4-DC31D5DB4D8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3</a:t>
            </a:fld>
            <a:endParaRPr lang="ja-JP" altLang="en-US"/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473ED149-4B09-4388-8750-2A3602D1AB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743788"/>
              </p:ext>
            </p:extLst>
          </p:nvPr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pic>
        <p:nvPicPr>
          <p:cNvPr id="6" name="図 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A193E51A-DFD2-4173-9BB6-38E4F753D2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250" y="2984920"/>
            <a:ext cx="6667500" cy="221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184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3B1959C-16C6-4F0B-85F4-5B57332145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078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624" imgH="623" progId="TCLayout.ActiveDocument.1">
                  <p:embed/>
                </p:oleObj>
              </mc:Choice>
              <mc:Fallback>
                <p:oleObj name="think-cell スライド" r:id="rId4" imgW="624" imgH="6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B1959C-16C6-4F0B-85F4-5B5733214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図 30">
            <a:extLst>
              <a:ext uri="{FF2B5EF4-FFF2-40B4-BE49-F238E27FC236}">
                <a16:creationId xmlns:a16="http://schemas.microsoft.com/office/drawing/2014/main" id="{450CC2B7-E121-A1E5-05F0-6D74A2B461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3545" y="1778956"/>
            <a:ext cx="6194073" cy="3749365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ja-JP" altLang="en-US">
                <a:cs typeface="HGMaruGothicMPRO" charset="-128"/>
              </a:rPr>
              <a:t>組織サーベイの配信設定</a:t>
            </a:r>
            <a:endParaRPr lang="en-US">
              <a:cs typeface="HGMaruGothicMPRO" charset="-128"/>
            </a:endParaRPr>
          </a:p>
        </p:txBody>
      </p:sp>
      <p:sp>
        <p:nvSpPr>
          <p:cNvPr id="7" name="テキスト ボックス 14">
            <a:extLst>
              <a:ext uri="{FF2B5EF4-FFF2-40B4-BE49-F238E27FC236}">
                <a16:creationId xmlns:a16="http://schemas.microsoft.com/office/drawing/2014/main" id="{0F040F56-99E7-4507-8592-6EBA609B197A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サーベイの設定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2C64923-1019-413E-A92C-85216B880ACF}"/>
              </a:ext>
            </a:extLst>
          </p:cNvPr>
          <p:cNvSpPr/>
          <p:nvPr/>
        </p:nvSpPr>
        <p:spPr>
          <a:xfrm>
            <a:off x="6775512" y="2002941"/>
            <a:ext cx="1726490" cy="502601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①サーベイ名称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en-US" altLang="ja-JP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0</a:t>
            </a:r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文字以内で入力</a:t>
            </a:r>
            <a:endParaRPr kumimoji="1" lang="ja-JP" altLang="en-US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98539B47-8D79-405C-B131-9DCDA7EE835D}"/>
              </a:ext>
            </a:extLst>
          </p:cNvPr>
          <p:cNvSpPr/>
          <p:nvPr/>
        </p:nvSpPr>
        <p:spPr>
          <a:xfrm>
            <a:off x="83201" y="2635685"/>
            <a:ext cx="1809324" cy="502601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②開始日</a:t>
            </a:r>
            <a:r>
              <a:rPr kumimoji="1" lang="en-US" altLang="ja-JP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/</a:t>
            </a:r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終了日：</a:t>
            </a:r>
            <a:endParaRPr kumimoji="1" lang="en-US" altLang="ja-JP" sz="140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en-US" altLang="ja-JP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</a:t>
            </a:r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弊社担当と調整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925DD2B-E603-4B16-AD27-5C22875260D6}"/>
              </a:ext>
            </a:extLst>
          </p:cNvPr>
          <p:cNvSpPr/>
          <p:nvPr/>
        </p:nvSpPr>
        <p:spPr>
          <a:xfrm>
            <a:off x="6171128" y="5413831"/>
            <a:ext cx="1726490" cy="877311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③設定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設定をクリックすることで配信設定が完了</a:t>
            </a:r>
            <a:endParaRPr kumimoji="1" lang="en-US" altLang="ja-JP" sz="1125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AA38EBA3-591A-469E-B7E9-6D31BD8740A6}"/>
              </a:ext>
            </a:extLst>
          </p:cNvPr>
          <p:cNvCxnSpPr>
            <a:cxnSpLocks/>
          </p:cNvCxnSpPr>
          <p:nvPr/>
        </p:nvCxnSpPr>
        <p:spPr>
          <a:xfrm>
            <a:off x="1892525" y="2939596"/>
            <a:ext cx="1097563" cy="583406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B085A2B4-FF8C-43CC-9DD9-1309E143BC18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5989320" y="2254242"/>
            <a:ext cx="786192" cy="656561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0E829326-CEB0-4A68-B3E0-7EF453A8F136}"/>
              </a:ext>
            </a:extLst>
          </p:cNvPr>
          <p:cNvCxnSpPr>
            <a:cxnSpLocks/>
            <a:stCxn id="14" idx="1"/>
          </p:cNvCxnSpPr>
          <p:nvPr/>
        </p:nvCxnSpPr>
        <p:spPr>
          <a:xfrm flipH="1" flipV="1">
            <a:off x="4868193" y="5166334"/>
            <a:ext cx="1302935" cy="686153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28EF80EC-2FEA-4AA9-A06B-62A8C4877F27}"/>
              </a:ext>
            </a:extLst>
          </p:cNvPr>
          <p:cNvSpPr/>
          <p:nvPr/>
        </p:nvSpPr>
        <p:spPr>
          <a:xfrm>
            <a:off x="2793411" y="4754742"/>
            <a:ext cx="304023" cy="3102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endParaRPr lang="ja-JP" altLang="en-US" sz="1547">
              <a:solidFill>
                <a:srgbClr val="FFFFFF"/>
              </a:solidFill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21DB0990-5050-4F76-AA6F-5AA92535FC05}"/>
              </a:ext>
            </a:extLst>
          </p:cNvPr>
          <p:cNvSpPr/>
          <p:nvPr/>
        </p:nvSpPr>
        <p:spPr>
          <a:xfrm>
            <a:off x="4312639" y="5828414"/>
            <a:ext cx="304023" cy="3102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endParaRPr lang="ja-JP" altLang="en-US" sz="1547">
              <a:solidFill>
                <a:srgbClr val="FFFFFF"/>
              </a:solidFill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4</a:t>
            </a:fld>
            <a:endParaRPr lang="ja-JP" altLang="en-US"/>
          </a:p>
        </p:txBody>
      </p:sp>
      <p:graphicFrame>
        <p:nvGraphicFramePr>
          <p:cNvPr id="24" name="表 23">
            <a:extLst>
              <a:ext uri="{FF2B5EF4-FFF2-40B4-BE49-F238E27FC236}">
                <a16:creationId xmlns:a16="http://schemas.microsoft.com/office/drawing/2014/main" id="{289A2914-E7C6-4D68-9F6A-B324AA0395CD}"/>
              </a:ext>
            </a:extLst>
          </p:cNvPr>
          <p:cNvGraphicFramePr>
            <a:graphicFrameLocks noGrp="1"/>
          </p:cNvGraphicFramePr>
          <p:nvPr/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0AEBD76-3D0F-7E49-87B1-8B1BE902F0C8}"/>
              </a:ext>
            </a:extLst>
          </p:cNvPr>
          <p:cNvSpPr/>
          <p:nvPr/>
        </p:nvSpPr>
        <p:spPr>
          <a:xfrm>
            <a:off x="2048352" y="2753039"/>
            <a:ext cx="5553073" cy="1386848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931658BB-00BD-2F47-B984-FB6E4EE1CD95}"/>
              </a:ext>
            </a:extLst>
          </p:cNvPr>
          <p:cNvSpPr/>
          <p:nvPr/>
        </p:nvSpPr>
        <p:spPr>
          <a:xfrm>
            <a:off x="4133971" y="4635117"/>
            <a:ext cx="1381834" cy="492370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73764672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2A8C5C4-A3DA-3FC1-A56B-25BE7EBA04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702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624" imgH="623" progId="TCLayout.ActiveDocument.1">
                  <p:embed/>
                </p:oleObj>
              </mc:Choice>
              <mc:Fallback>
                <p:oleObj name="think-cell スライド" r:id="rId4" imgW="624" imgH="6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A8C5C4-A3DA-3FC1-A56B-25BE7EBA0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図 9">
            <a:extLst>
              <a:ext uri="{FF2B5EF4-FFF2-40B4-BE49-F238E27FC236}">
                <a16:creationId xmlns:a16="http://schemas.microsoft.com/office/drawing/2014/main" id="{D350DB92-0275-469A-A0C0-123CCAA346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5599" y="2015074"/>
            <a:ext cx="6157494" cy="4377307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ja-JP" altLang="en-US">
                <a:cs typeface="HGMaruGothicMPRO" charset="-128"/>
              </a:rPr>
              <a:t>組織サーベイの配信設定</a:t>
            </a:r>
            <a:endParaRPr lang="en-US">
              <a:cs typeface="HGMaruGothicMPRO" charset="-128"/>
            </a:endParaRPr>
          </a:p>
        </p:txBody>
      </p:sp>
      <p:sp>
        <p:nvSpPr>
          <p:cNvPr id="7" name="テキスト ボックス 14">
            <a:extLst>
              <a:ext uri="{FF2B5EF4-FFF2-40B4-BE49-F238E27FC236}">
                <a16:creationId xmlns:a16="http://schemas.microsoft.com/office/drawing/2014/main" id="{0F040F56-99E7-4507-8592-6EBA609B197A}"/>
              </a:ext>
            </a:extLst>
          </p:cNvPr>
          <p:cNvSpPr txBox="1"/>
          <p:nvPr/>
        </p:nvSpPr>
        <p:spPr>
          <a:xfrm>
            <a:off x="445665" y="1297972"/>
            <a:ext cx="8252672" cy="6604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サーベイの設定後、配信対象人数や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配信メール、回答画面の内容確認ができます。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6E14FF79-2B23-4144-81E6-4DE39E8D1248}"/>
              </a:ext>
            </a:extLst>
          </p:cNvPr>
          <p:cNvSpPr/>
          <p:nvPr/>
        </p:nvSpPr>
        <p:spPr>
          <a:xfrm>
            <a:off x="648070" y="3098636"/>
            <a:ext cx="2040168" cy="1200133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配信対象人数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en-US" altLang="ja-JP" sz="1125" err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Geppo</a:t>
            </a:r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上で「就業状況」が「就業中」で登録されている従業員を表示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CF931B9-467F-47EE-981F-ED5239E98985}"/>
              </a:ext>
            </a:extLst>
          </p:cNvPr>
          <p:cNvSpPr/>
          <p:nvPr/>
        </p:nvSpPr>
        <p:spPr>
          <a:xfrm>
            <a:off x="5473478" y="4030462"/>
            <a:ext cx="2627783" cy="1029810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プレビュー：</a:t>
            </a:r>
            <a:endParaRPr kumimoji="1" lang="en-US" altLang="ja-JP" sz="140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配信メール／回答画面」の内容を確認することができます。</a:t>
            </a:r>
            <a:endParaRPr kumimoji="1" lang="en-US" altLang="ja-JP" sz="1125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kumimoji="1" lang="ja-JP" altLang="en-US" sz="1125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内容を変更することはできません）</a:t>
            </a:r>
            <a:endParaRPr kumimoji="1" lang="en-US" altLang="ja-JP" sz="1125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8136AE35-BAB9-42AC-B1E7-8E4D2B80C519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2688238" y="3698703"/>
            <a:ext cx="782931" cy="154206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64605401-0DF3-4B35-883C-264035FF8E32}"/>
              </a:ext>
            </a:extLst>
          </p:cNvPr>
          <p:cNvCxnSpPr>
            <a:cxnSpLocks/>
            <a:stCxn id="13" idx="1"/>
          </p:cNvCxnSpPr>
          <p:nvPr/>
        </p:nvCxnSpPr>
        <p:spPr>
          <a:xfrm flipH="1" flipV="1">
            <a:off x="4185637" y="4298769"/>
            <a:ext cx="1287841" cy="246598"/>
          </a:xfrm>
          <a:prstGeom prst="line">
            <a:avLst/>
          </a:prstGeom>
          <a:ln w="28575">
            <a:solidFill>
              <a:srgbClr val="37474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28EF80EC-2FEA-4AA9-A06B-62A8C4877F27}"/>
              </a:ext>
            </a:extLst>
          </p:cNvPr>
          <p:cNvSpPr/>
          <p:nvPr/>
        </p:nvSpPr>
        <p:spPr>
          <a:xfrm>
            <a:off x="2793411" y="4958929"/>
            <a:ext cx="304023" cy="3102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endParaRPr lang="ja-JP" altLang="en-US" sz="1547">
              <a:solidFill>
                <a:srgbClr val="FFFFFF"/>
              </a:solidFill>
              <a:latin typeface="+mn-lt"/>
              <a:ea typeface="+mn-ea"/>
              <a:cs typeface="+mn-cs"/>
              <a:sym typeface="ヒラギノ角ゴ ProN W3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5</a:t>
            </a:fld>
            <a:endParaRPr lang="ja-JP" altLang="en-US"/>
          </a:p>
        </p:txBody>
      </p:sp>
      <p:graphicFrame>
        <p:nvGraphicFramePr>
          <p:cNvPr id="24" name="表 23">
            <a:extLst>
              <a:ext uri="{FF2B5EF4-FFF2-40B4-BE49-F238E27FC236}">
                <a16:creationId xmlns:a16="http://schemas.microsoft.com/office/drawing/2014/main" id="{289A2914-E7C6-4D68-9F6A-B324AA0395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875084"/>
              </p:ext>
            </p:extLst>
          </p:nvPr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A89239-6955-5AD9-BAAA-BAB499A63E14}"/>
              </a:ext>
            </a:extLst>
          </p:cNvPr>
          <p:cNvSpPr/>
          <p:nvPr/>
        </p:nvSpPr>
        <p:spPr>
          <a:xfrm>
            <a:off x="2902998" y="3874061"/>
            <a:ext cx="1936327" cy="507134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87978506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cs typeface="HGMaruGothicMPRO" charset="-128"/>
              </a:rPr>
              <a:t>追加質問</a:t>
            </a:r>
            <a:endParaRPr lang="en-US">
              <a:cs typeface="HGMaruGothicMPRO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6</a:t>
            </a:fld>
            <a:endParaRPr lang="ja-JP" altLang="en-US"/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D18EB402-F88D-44E9-808F-C6BC89FE16E2}"/>
              </a:ext>
            </a:extLst>
          </p:cNvPr>
          <p:cNvGraphicFramePr>
            <a:graphicFrameLocks noGrp="1"/>
          </p:cNvGraphicFramePr>
          <p:nvPr/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  <p:pic>
        <p:nvPicPr>
          <p:cNvPr id="6" name="図 5">
            <a:extLst>
              <a:ext uri="{FF2B5EF4-FFF2-40B4-BE49-F238E27FC236}">
                <a16:creationId xmlns:a16="http://schemas.microsoft.com/office/drawing/2014/main" id="{14D3CEB7-A9F9-48CC-9E24-238F3A7FCD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5599" y="2019574"/>
            <a:ext cx="6157494" cy="4377307"/>
          </a:xfrm>
          <a:prstGeom prst="rect">
            <a:avLst/>
          </a:prstGeom>
        </p:spPr>
      </p:pic>
      <p:sp>
        <p:nvSpPr>
          <p:cNvPr id="10" name="テキスト ボックス 14">
            <a:extLst>
              <a:ext uri="{FF2B5EF4-FFF2-40B4-BE49-F238E27FC236}">
                <a16:creationId xmlns:a16="http://schemas.microsoft.com/office/drawing/2014/main" id="{C83A2ACC-D35E-431F-852E-452932F98EAB}"/>
              </a:ext>
            </a:extLst>
          </p:cNvPr>
          <p:cNvSpPr txBox="1"/>
          <p:nvPr/>
        </p:nvSpPr>
        <p:spPr>
          <a:xfrm>
            <a:off x="445664" y="1343684"/>
            <a:ext cx="825267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組織サーベイ基本設定完了後、追加質問を追加いただけます。</a:t>
            </a:r>
            <a:endParaRPr lang="ja-JP" altLang="en-US" sz="14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3254602-0066-2EA1-287D-E578B5FD040D}"/>
              </a:ext>
            </a:extLst>
          </p:cNvPr>
          <p:cNvSpPr/>
          <p:nvPr/>
        </p:nvSpPr>
        <p:spPr>
          <a:xfrm>
            <a:off x="4482214" y="5917104"/>
            <a:ext cx="1439372" cy="474005"/>
          </a:xfrm>
          <a:prstGeom prst="rect">
            <a:avLst/>
          </a:prstGeom>
          <a:noFill/>
          <a:ln w="38100" cap="flat">
            <a:solidFill>
              <a:schemeClr val="accent6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ja-JP" alt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2998396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cs typeface="HGMaruGothicMPRO" charset="-128"/>
              </a:rPr>
              <a:t>追加質問</a:t>
            </a:r>
            <a:endParaRPr lang="en-US">
              <a:cs typeface="HGMaruGothicMPRO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AD0DBB2-6DA5-4A08-B701-903998E22AC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7</a:t>
            </a:fld>
            <a:endParaRPr lang="ja-JP" altLang="en-US"/>
          </a:p>
        </p:txBody>
      </p:sp>
      <p:sp>
        <p:nvSpPr>
          <p:cNvPr id="22" name="テキスト ボックス 14">
            <a:extLst>
              <a:ext uri="{FF2B5EF4-FFF2-40B4-BE49-F238E27FC236}">
                <a16:creationId xmlns:a16="http://schemas.microsoft.com/office/drawing/2014/main" id="{7E0B11BE-2489-4D90-B037-107137AD4A8A}"/>
              </a:ext>
            </a:extLst>
          </p:cNvPr>
          <p:cNvSpPr txBox="1"/>
          <p:nvPr/>
        </p:nvSpPr>
        <p:spPr>
          <a:xfrm>
            <a:off x="453886" y="1439713"/>
            <a:ext cx="825267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altLang="ja-JP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20</a:t>
            </a:r>
            <a:r>
              <a:rPr lang="ja-JP" altLang="en-US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問の固定質問に、追加質問を最大</a:t>
            </a:r>
            <a:r>
              <a:rPr lang="en-US" altLang="ja-JP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30</a:t>
            </a:r>
            <a:r>
              <a:rPr lang="ja-JP" altLang="en-US" sz="18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問設定することが可能です。</a:t>
            </a:r>
          </a:p>
          <a:p>
            <a:r>
              <a:rPr lang="ja-JP" altLang="en-US" sz="14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※追加質問はダッシュボードでの確認ができません</a:t>
            </a:r>
            <a:endParaRPr lang="ja-JP" altLang="en-US" sz="14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C929A29-543E-4B7B-8012-90F4C419D023}"/>
              </a:ext>
            </a:extLst>
          </p:cNvPr>
          <p:cNvSpPr txBox="1"/>
          <p:nvPr/>
        </p:nvSpPr>
        <p:spPr>
          <a:xfrm>
            <a:off x="1996650" y="2442472"/>
            <a:ext cx="4588879" cy="3395801"/>
          </a:xfrm>
          <a:prstGeom prst="rect">
            <a:avLst/>
          </a:prstGeom>
          <a:ln>
            <a:solidFill>
              <a:srgbClr val="55BBB3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l" defTabSz="584200"/>
            <a:r>
              <a:rPr kumimoji="0" lang="ja-JP" altLang="en-US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設定条件　最大</a:t>
            </a:r>
            <a:r>
              <a:rPr kumimoji="0" lang="en-US" altLang="ja-JP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30</a:t>
            </a:r>
            <a:r>
              <a:rPr kumimoji="0" lang="ja-JP" altLang="en-US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問まで設定可能</a:t>
            </a:r>
            <a:endParaRPr lang="en-US" altLang="ja-JP" sz="1600" b="1" i="0" u="none" strike="noStrike" cap="none" spc="0" normalizeH="0" baseline="0">
              <a:ln>
                <a:noFill/>
              </a:ln>
              <a:solidFill>
                <a:srgbClr val="37474F"/>
              </a:solidFill>
              <a:effectLst/>
              <a:uFillTx/>
              <a:latin typeface="游ゴシック"/>
              <a:ea typeface="游ゴシック"/>
            </a:endParaRPr>
          </a:p>
          <a:p>
            <a:pPr algn="l" defTabSz="584200"/>
            <a:r>
              <a:rPr kumimoji="0" lang="en-US" altLang="ja-JP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【</a:t>
            </a:r>
            <a:r>
              <a:rPr kumimoji="0" lang="ja-JP" altLang="en-US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設問</a:t>
            </a:r>
            <a:r>
              <a:rPr kumimoji="0" lang="en-US" altLang="ja-JP" sz="1600" b="1" i="0" u="none" strike="noStrike" cap="none" spc="0" normalizeH="0" baseline="0">
                <a:ln>
                  <a:noFill/>
                </a:ln>
                <a:solidFill>
                  <a:srgbClr val="37474F"/>
                </a:solidFill>
                <a:effectLst/>
                <a:uFillTx/>
                <a:latin typeface="游ゴシック"/>
                <a:ea typeface="游ゴシック"/>
                <a:sym typeface="ヒラギノ角ゴ ProN W6"/>
              </a:rPr>
              <a:t>】</a:t>
            </a:r>
            <a:endParaRPr lang="en-US" altLang="ja-JP" sz="1600" b="1" i="0" u="none" strike="noStrike" cap="none" spc="0" normalizeH="0" baseline="0">
              <a:ln>
                <a:noFill/>
              </a:ln>
              <a:solidFill>
                <a:srgbClr val="37474F"/>
              </a:solidFill>
              <a:effectLst/>
              <a:uFillTx/>
              <a:latin typeface="游ゴシック"/>
              <a:ea typeface="游ゴシック"/>
            </a:endParaRPr>
          </a:p>
          <a:p>
            <a:pPr marL="342900" indent="-342900" algn="l" defTabSz="584200">
              <a:buFont typeface="Arial" panose="020B0604020202020204" pitchFamily="34" charset="0"/>
              <a:buChar char="•"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数：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10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（改行可）</a:t>
            </a:r>
            <a:br>
              <a:rPr lang="ja-JP" altLang="en-US" sz="1600" b="1">
                <a:latin typeface="游ゴシック"/>
                <a:ea typeface="游ゴシック"/>
              </a:rPr>
            </a:br>
            <a:r>
              <a:rPr lang="en-US" altLang="ja-JP" sz="1100" b="1">
                <a:solidFill>
                  <a:srgbClr val="37474F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英字の場合はアルファベットで</a:t>
            </a:r>
            <a:r>
              <a:rPr lang="en-US" altLang="ja-JP" sz="1100" b="1">
                <a:solidFill>
                  <a:srgbClr val="37474F"/>
                </a:solidFill>
                <a:latin typeface="游ゴシック"/>
                <a:ea typeface="游ゴシック"/>
              </a:rPr>
              <a:t>1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文字カウント</a:t>
            </a:r>
            <a:br>
              <a:rPr lang="ja-JP" altLang="en-US" sz="1100" b="1"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en-US" altLang="ja-JP" sz="1100" b="1">
                <a:solidFill>
                  <a:srgbClr val="37474F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改行</a:t>
            </a:r>
            <a:r>
              <a:rPr lang="en-US" altLang="ja-JP" sz="1100" b="1">
                <a:solidFill>
                  <a:srgbClr val="37474F"/>
                </a:solidFill>
                <a:latin typeface="游ゴシック"/>
                <a:ea typeface="游ゴシック"/>
              </a:rPr>
              <a:t>/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スペースも</a:t>
            </a:r>
            <a:r>
              <a:rPr lang="en-US" altLang="ja-JP" sz="1100" b="1">
                <a:solidFill>
                  <a:srgbClr val="37474F"/>
                </a:solidFill>
                <a:latin typeface="游ゴシック"/>
                <a:ea typeface="游ゴシック"/>
              </a:rPr>
              <a:t>1</a:t>
            </a:r>
            <a:r>
              <a:rPr lang="ja-JP" altLang="en-US" sz="1100" b="1">
                <a:solidFill>
                  <a:srgbClr val="37474F"/>
                </a:solidFill>
                <a:latin typeface="游ゴシック"/>
                <a:ea typeface="游ゴシック"/>
              </a:rPr>
              <a:t>文字カウント</a:t>
            </a:r>
            <a:endParaRPr lang="en-US" altLang="ja-JP" sz="11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R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lang="en-US" altLang="ja-JP" sz="16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R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【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設問補足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】</a:t>
            </a:r>
          </a:p>
          <a:p>
            <a:pPr marL="342900" indent="-342900" algn="l" defTabSz="584200">
              <a:buFont typeface="Arial" panose="020B0604020202020204" pitchFamily="34" charset="0"/>
              <a:buChar char="•"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数：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10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（改行可）</a:t>
            </a:r>
            <a:endParaRPr lang="ja-JP" altLang="en-US" sz="1600" b="1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altLang="ja-JP" sz="16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R="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【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回答方法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】</a:t>
            </a: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最大選択肢設定数：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2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個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ラジオボタン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/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プルダウン：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10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チェックボックス：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20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文字まで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  <a:p>
            <a:pPr marL="342900" marR="0" indent="-342900" algn="l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一行テキスト</a:t>
            </a:r>
            <a:r>
              <a:rPr lang="en-US" altLang="ja-JP" sz="1600" b="1">
                <a:solidFill>
                  <a:srgbClr val="37474F"/>
                </a:solidFill>
                <a:latin typeface="游ゴシック"/>
                <a:ea typeface="游ゴシック"/>
              </a:rPr>
              <a:t>/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</a:rPr>
              <a:t>複数行テキスト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</a:endParaRPr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D18EB402-F88D-44E9-808F-C6BC89FE1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590488"/>
              </p:ext>
            </p:extLst>
          </p:nvPr>
        </p:nvGraphicFramePr>
        <p:xfrm>
          <a:off x="8101262" y="0"/>
          <a:ext cx="1042738" cy="835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2738">
                  <a:extLst>
                    <a:ext uri="{9D8B030D-6E8A-4147-A177-3AD203B41FA5}">
                      <a16:colId xmlns:a16="http://schemas.microsoft.com/office/drawing/2014/main" val="273203430"/>
                    </a:ext>
                  </a:extLst>
                </a:gridCol>
              </a:tblGrid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SV</a:t>
                      </a:r>
                      <a:r>
                        <a:rPr kumimoji="1" lang="ja-JP" altLang="en-US" sz="10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登録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456623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配信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975449"/>
                  </a:ext>
                </a:extLst>
              </a:tr>
              <a:tr h="27861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solidFill>
                            <a:schemeClr val="bg1"/>
                          </a:solidFill>
                        </a:rPr>
                        <a:t>オプション設定</a:t>
                      </a:r>
                    </a:p>
                  </a:txBody>
                  <a:tcPr marL="46923" marR="46923" marT="34350" marB="3435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152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54214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CF80A62E-61BF-4A60-BFDA-2B33DC5B24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4785113"/>
              </p:ext>
            </p:extLst>
          </p:nvPr>
        </p:nvGraphicFramePr>
        <p:xfrm>
          <a:off x="135289" y="2012903"/>
          <a:ext cx="8873422" cy="4245726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147646">
                  <a:extLst>
                    <a:ext uri="{9D8B030D-6E8A-4147-A177-3AD203B41FA5}">
                      <a16:colId xmlns:a16="http://schemas.microsoft.com/office/drawing/2014/main" val="1143621772"/>
                    </a:ext>
                  </a:extLst>
                </a:gridCol>
                <a:gridCol w="1147646">
                  <a:extLst>
                    <a:ext uri="{9D8B030D-6E8A-4147-A177-3AD203B41FA5}">
                      <a16:colId xmlns:a16="http://schemas.microsoft.com/office/drawing/2014/main" val="1671366998"/>
                    </a:ext>
                  </a:extLst>
                </a:gridCol>
                <a:gridCol w="3289065">
                  <a:extLst>
                    <a:ext uri="{9D8B030D-6E8A-4147-A177-3AD203B41FA5}">
                      <a16:colId xmlns:a16="http://schemas.microsoft.com/office/drawing/2014/main" val="616047490"/>
                    </a:ext>
                  </a:extLst>
                </a:gridCol>
                <a:gridCol w="3289065">
                  <a:extLst>
                    <a:ext uri="{9D8B030D-6E8A-4147-A177-3AD203B41FA5}">
                      <a16:colId xmlns:a16="http://schemas.microsoft.com/office/drawing/2014/main" val="3703412191"/>
                    </a:ext>
                  </a:extLst>
                </a:gridCol>
              </a:tblGrid>
              <a:tr h="268608">
                <a:tc>
                  <a:txBody>
                    <a:bodyPr/>
                    <a:lstStyle/>
                    <a:p>
                      <a:endParaRPr kumimoji="1" lang="ja-JP" altLang="en-US" sz="1800"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記名式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5BB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800"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匿名式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5BB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572701"/>
                  </a:ext>
                </a:extLst>
              </a:tr>
              <a:tr h="706940">
                <a:tc rowSpan="2">
                  <a:txBody>
                    <a:bodyPr/>
                    <a:lstStyle/>
                    <a:p>
                      <a:pPr marL="0" marR="0" lvl="0" indent="0" algn="ctr" defTabSz="410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ユーザ観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回答率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0" u="none" strike="noStrike" cap="none" err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Geppo</a:t>
                      </a:r>
                      <a:r>
                        <a:rPr lang="ja-JP" altLang="en-US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回答画面上に「記名式」「匿名式」が表示されるわけではないので実施方法による違いはほぼない</a:t>
                      </a: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37920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794346"/>
                  </a:ext>
                </a:extLst>
              </a:tr>
              <a:tr h="636012">
                <a:tc vMerge="1">
                  <a:txBody>
                    <a:bodyPr/>
                    <a:lstStyle/>
                    <a:p>
                      <a:endParaRPr kumimoji="1" lang="ja-JP" altLang="en-US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率直性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特に</a:t>
                      </a:r>
                      <a:r>
                        <a:rPr lang="en-US" altLang="ja-JP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Q1</a:t>
                      </a:r>
                      <a:r>
                        <a:rPr lang="ja-JP" altLang="en-US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（</a:t>
                      </a:r>
                      <a:r>
                        <a:rPr lang="en-US" altLang="ja-JP" sz="1200" b="0" u="none" strike="noStrike" cap="none" err="1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eNPS</a:t>
                      </a:r>
                      <a:r>
                        <a:rPr lang="ja-JP" altLang="en-US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）と</a:t>
                      </a:r>
                      <a:r>
                        <a:rPr lang="en-US" altLang="ja-JP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Q2</a:t>
                      </a:r>
                      <a:r>
                        <a:rPr lang="ja-JP" altLang="en-US" sz="1200" b="0" u="none" strike="noStrike" cap="none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  <a:cs typeface="Arial"/>
                          <a:sym typeface="Arial"/>
                        </a:rPr>
                        <a:t>（勤続意向）については特に率直性が下がる傾向にある（大きな差異はない）</a:t>
                      </a: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批判的なコメント含め、記名式に比較すると率直な回答が入ってきやすい</a:t>
                      </a:r>
                      <a:endParaRPr kumimoji="1" lang="en-US" altLang="ja-JP" sz="1200" b="0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1769"/>
                  </a:ext>
                </a:extLst>
              </a:tr>
              <a:tr h="636012">
                <a:tc rowSpan="3"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管理者観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管理画面閲覧可能範囲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全ての結果を閲覧することが出来る</a:t>
                      </a:r>
                      <a:endParaRPr kumimoji="1" lang="en-US" altLang="ja-JP" sz="1200" b="0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回答者</a:t>
                      </a:r>
                      <a:r>
                        <a:rPr kumimoji="1" lang="en-US" altLang="ja-JP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5</a:t>
                      </a: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名未満の組織レポートが画面上から非表示となる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771429"/>
                  </a:ext>
                </a:extLst>
              </a:tr>
              <a:tr h="636012">
                <a:tc vMerge="1">
                  <a:txBody>
                    <a:bodyPr/>
                    <a:lstStyle/>
                    <a:p>
                      <a:endParaRPr kumimoji="1" lang="ja-JP" altLang="en-US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CSV</a:t>
                      </a:r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ダウンロード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ja-JP" altLang="en-US" sz="1200" b="0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回答者名＋回答結果</a:t>
                      </a:r>
                      <a:endParaRPr kumimoji="1" lang="ja-JP" altLang="en-US" sz="1200" b="0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Tx/>
                        <a:buNone/>
                      </a:pPr>
                      <a:r>
                        <a:rPr lang="ja-JP" altLang="en-US" sz="1200" b="0">
                          <a:solidFill>
                            <a:srgbClr val="37474F"/>
                          </a:solidFill>
                          <a:latin typeface="游ゴシック"/>
                          <a:ea typeface="游ゴシック"/>
                        </a:rPr>
                        <a:t>回答結果のみ</a:t>
                      </a:r>
                      <a:endParaRPr kumimoji="1" lang="ja-JP" altLang="en-US" sz="1200" b="0">
                        <a:solidFill>
                          <a:srgbClr val="37474F"/>
                        </a:solidFill>
                        <a:latin typeface="游ゴシック"/>
                        <a:ea typeface="游ゴシック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878053"/>
                  </a:ext>
                </a:extLst>
              </a:tr>
              <a:tr h="636012">
                <a:tc vMerge="1">
                  <a:txBody>
                    <a:bodyPr/>
                    <a:lstStyle/>
                    <a:p>
                      <a:endParaRPr kumimoji="1" lang="ja-JP" altLang="en-US" sz="1400" b="1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CS</a:t>
                      </a:r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レポート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全ての組織別、属性別レポートを提供（ただし、社内報告資料等に活用する場合は匿名式でのレポート作成も可能）</a:t>
                      </a:r>
                      <a:endParaRPr kumimoji="1" lang="en-US" altLang="ja-JP" sz="1200" b="0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en-US" altLang="ja-JP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5</a:t>
                      </a: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名未満の組織、属性について結果をマスキングして提供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995908"/>
                  </a:ext>
                </a:extLst>
              </a:tr>
              <a:tr h="636012">
                <a:tc gridSpan="2">
                  <a:txBody>
                    <a:bodyPr/>
                    <a:lstStyle/>
                    <a:p>
                      <a:r>
                        <a:rPr kumimoji="1" lang="ja-JP" altLang="en-US" sz="1200" b="1">
                          <a:solidFill>
                            <a:schemeClr val="bg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推奨ケー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kumimoji="1" lang="ja-JP" altLang="en-US" sz="1400" b="1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推奨ケー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7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500"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右記以外の全てのケース</a:t>
                      </a:r>
                      <a:endParaRPr kumimoji="1" lang="en-US" altLang="ja-JP" sz="1200" b="0">
                        <a:solidFill>
                          <a:srgbClr val="37474F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84400" marR="84400" marT="42200" marB="42200" anchor="ctr"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kumimoji="1" lang="ja-JP" altLang="en-US" sz="1200" b="0">
                          <a:solidFill>
                            <a:srgbClr val="37474F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限定管理者を多く配置しているケース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258238"/>
                  </a:ext>
                </a:extLst>
              </a:tr>
            </a:tbl>
          </a:graphicData>
        </a:graphic>
      </p:graphicFrame>
      <p:sp>
        <p:nvSpPr>
          <p:cNvPr id="8" name="タイトル 1">
            <a:extLst>
              <a:ext uri="{FF2B5EF4-FFF2-40B4-BE49-F238E27FC236}">
                <a16:creationId xmlns:a16="http://schemas.microsoft.com/office/drawing/2014/main" id="{33BDD926-F3CB-47D5-B503-87B6F7689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b="1"/>
              <a:t>（参考）実施方法の違い</a:t>
            </a:r>
          </a:p>
        </p:txBody>
      </p:sp>
      <p:sp>
        <p:nvSpPr>
          <p:cNvPr id="7" name="Geppoの個人サーベイと組織サーベイの違い">
            <a:extLst>
              <a:ext uri="{FF2B5EF4-FFF2-40B4-BE49-F238E27FC236}">
                <a16:creationId xmlns:a16="http://schemas.microsoft.com/office/drawing/2014/main" id="{BD216E0E-7158-4B18-AFBE-5687636FB4D9}"/>
              </a:ext>
            </a:extLst>
          </p:cNvPr>
          <p:cNvSpPr txBox="1"/>
          <p:nvPr/>
        </p:nvSpPr>
        <p:spPr>
          <a:xfrm>
            <a:off x="926455" y="1201596"/>
            <a:ext cx="7487872" cy="820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3183" tIns="23183" rIns="23183" bIns="23183" anchor="ctr"/>
          <a:lstStyle>
            <a:lvl1pPr>
              <a:defRPr sz="2800"/>
            </a:lvl1pPr>
          </a:lstStyle>
          <a:p>
            <a:pPr algn="ctr" defTabSz="266577"/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実施方法は「記名」と「匿名」で選択できます。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 defTabSz="266577"/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それぞれの違いは以下の通りです。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6C9384DA-B343-3CB4-9F12-404B71C1AB1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4072597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b="1">
                <a:cs typeface="源真ゴシック Bold" panose="020B0602020203020207" pitchFamily="50" charset="-128"/>
              </a:rPr>
              <a:t>運用スケジュール</a:t>
            </a:r>
          </a:p>
        </p:txBody>
      </p:sp>
      <p:sp>
        <p:nvSpPr>
          <p:cNvPr id="41" name="ホームベース 28"/>
          <p:cNvSpPr/>
          <p:nvPr/>
        </p:nvSpPr>
        <p:spPr>
          <a:xfrm>
            <a:off x="1565653" y="3098207"/>
            <a:ext cx="1778611" cy="2618822"/>
          </a:xfrm>
          <a:prstGeom prst="homePlate">
            <a:avLst>
              <a:gd name="adj" fmla="val 32311"/>
            </a:avLst>
          </a:prstGeom>
          <a:solidFill>
            <a:srgbClr val="E1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【アンケート配信】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※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午前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1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時以降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順次配信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endParaRPr lang="en-US" altLang="ja-JP" sz="1100" b="1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配信は</a:t>
            </a:r>
            <a:r>
              <a:rPr lang="en-US" altLang="ja-JP" sz="1100" b="1" dirty="0">
                <a:solidFill>
                  <a:schemeClr val="bg1"/>
                </a:solidFill>
                <a:latin typeface="游ゴシック"/>
                <a:ea typeface="游ゴシック"/>
              </a:rPr>
              <a:t>2</a:t>
            </a:r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週間程度を推奨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50" name="正方形/長方形 44"/>
          <p:cNvSpPr>
            <a:spLocks noChangeAspect="1"/>
          </p:cNvSpPr>
          <p:nvPr/>
        </p:nvSpPr>
        <p:spPr>
          <a:xfrm>
            <a:off x="61831" y="2557831"/>
            <a:ext cx="1504783" cy="303860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～配信開始３営業日前</a:t>
            </a:r>
          </a:p>
        </p:txBody>
      </p:sp>
      <p:sp>
        <p:nvSpPr>
          <p:cNvPr id="52" name="正方形/長方形 48"/>
          <p:cNvSpPr>
            <a:spLocks noChangeAspect="1"/>
          </p:cNvSpPr>
          <p:nvPr/>
        </p:nvSpPr>
        <p:spPr>
          <a:xfrm>
            <a:off x="1571609" y="2554091"/>
            <a:ext cx="1776574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開始日</a:t>
            </a:r>
            <a:endParaRPr lang="ja-JP" altLang="en-US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61" name="テキスト ボックス 26"/>
          <p:cNvSpPr txBox="1"/>
          <p:nvPr/>
        </p:nvSpPr>
        <p:spPr>
          <a:xfrm>
            <a:off x="562708" y="1142257"/>
            <a:ext cx="8018586" cy="11387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ご利用開始の</a:t>
            </a:r>
            <a:r>
              <a:rPr lang="en-US" altLang="ja-JP" sz="2000" b="1" u="sng" dirty="0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3</a:t>
            </a:r>
            <a:r>
              <a:rPr lang="ja-JP" altLang="en-US" sz="2000" b="1" u="sng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営業日前の</a:t>
            </a:r>
            <a:r>
              <a:rPr lang="en-US" altLang="ja-JP" sz="2000" b="1" u="sng" dirty="0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17</a:t>
            </a:r>
            <a:r>
              <a:rPr lang="ja-JP" altLang="en-US" sz="2000" b="1" u="sng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時</a:t>
            </a:r>
            <a:r>
              <a:rPr lang="en-US" altLang="ja-JP" sz="2000" b="1" u="sng" dirty="0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00</a:t>
            </a:r>
            <a:r>
              <a:rPr lang="ja-JP" altLang="en-US" sz="2000" b="1" u="sng">
                <a:solidFill>
                  <a:srgbClr val="E76D64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分</a:t>
            </a:r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までに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①対象従業員への周知　②配信準備（データの登録）を実施ください。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アンケート配信後、リマインドの実施をお願いいたします。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pPr algn="ctr"/>
            <a:r>
              <a:rPr lang="ja-JP" altLang="en-US" sz="16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終了後、レポートを納品いたします。</a:t>
            </a:r>
            <a:endParaRPr lang="en-US" altLang="ja-JP" sz="1600" b="1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sp>
        <p:nvSpPr>
          <p:cNvPr id="33" name="正方形/長方形 44"/>
          <p:cNvSpPr>
            <a:spLocks noChangeAspect="1"/>
          </p:cNvSpPr>
          <p:nvPr/>
        </p:nvSpPr>
        <p:spPr>
          <a:xfrm>
            <a:off x="3331090" y="2554091"/>
            <a:ext cx="1460607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期間中</a:t>
            </a:r>
            <a:endParaRPr lang="ja-JP" altLang="en-US" sz="1000" b="1" dirty="0">
              <a:solidFill>
                <a:srgbClr val="37474F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sp>
        <p:nvSpPr>
          <p:cNvPr id="36" name="正方形/長方形 44"/>
          <p:cNvSpPr>
            <a:spLocks noChangeAspect="1"/>
          </p:cNvSpPr>
          <p:nvPr/>
        </p:nvSpPr>
        <p:spPr>
          <a:xfrm>
            <a:off x="4785648" y="2554091"/>
            <a:ext cx="1282228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終了２週間後</a:t>
            </a:r>
            <a:endParaRPr lang="ja-JP" sz="1000">
              <a:ea typeface="游ゴシック"/>
            </a:endParaRPr>
          </a:p>
        </p:txBody>
      </p:sp>
      <p:sp>
        <p:nvSpPr>
          <p:cNvPr id="72" name="正方形/長方形 44"/>
          <p:cNvSpPr>
            <a:spLocks noChangeAspect="1"/>
          </p:cNvSpPr>
          <p:nvPr/>
        </p:nvSpPr>
        <p:spPr>
          <a:xfrm>
            <a:off x="6061826" y="2554091"/>
            <a:ext cx="1637245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終了2週間後～</a:t>
            </a:r>
            <a:endParaRPr lang="en-US" altLang="ja-JP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37" name="ホームベース 28"/>
          <p:cNvSpPr/>
          <p:nvPr/>
        </p:nvSpPr>
        <p:spPr>
          <a:xfrm>
            <a:off x="4794930" y="3093508"/>
            <a:ext cx="1294319" cy="2615268"/>
          </a:xfrm>
          <a:prstGeom prst="homePlate">
            <a:avLst>
              <a:gd name="adj" fmla="val 32311"/>
            </a:avLst>
          </a:prstGeom>
          <a:solidFill>
            <a:srgbClr val="E1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レポート納品</a:t>
            </a: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振り返りMTGの実施</a:t>
            </a:r>
            <a:endParaRPr lang="ja-JP" altLang="en-US" sz="1100" b="1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35B410B3-1B2A-4296-99A6-3E40ADB0E1F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9</a:t>
            </a:fld>
            <a:endParaRPr lang="ja-JP" altLang="en-US"/>
          </a:p>
        </p:txBody>
      </p:sp>
      <p:sp>
        <p:nvSpPr>
          <p:cNvPr id="77" name="ホームベース 49"/>
          <p:cNvSpPr/>
          <p:nvPr/>
        </p:nvSpPr>
        <p:spPr>
          <a:xfrm>
            <a:off x="35922" y="4513083"/>
            <a:ext cx="1530693" cy="952309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72000" bIns="45720" rtlCol="0" anchor="ctr"/>
          <a:lstStyle/>
          <a:p>
            <a:pPr algn="ctr"/>
            <a:r>
              <a:rPr lang="ja-JP" altLang="en-US" sz="1100" b="1" dirty="0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準備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endParaRPr lang="ja-JP" altLang="en-US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 dirty="0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組織/従業員CSV作成・アップロード</a:t>
            </a:r>
            <a:endParaRPr lang="en-US" altLang="ja-JP" sz="1100" b="1" dirty="0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  <a:p>
            <a:r>
              <a:rPr lang="ja-JP" altLang="en-US" sz="1100" b="1" dirty="0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配信設定</a:t>
            </a:r>
          </a:p>
        </p:txBody>
      </p:sp>
      <p:sp>
        <p:nvSpPr>
          <p:cNvPr id="78" name="ホームベース 49"/>
          <p:cNvSpPr/>
          <p:nvPr/>
        </p:nvSpPr>
        <p:spPr>
          <a:xfrm>
            <a:off x="38518" y="3352209"/>
            <a:ext cx="1528098" cy="952309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従業員への周知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  <a:cs typeface="源真ゴシック Bold" panose="020B0602020203020207" pitchFamily="50" charset="-128"/>
            </a:endParaRPr>
          </a:p>
        </p:txBody>
      </p:sp>
      <p:sp>
        <p:nvSpPr>
          <p:cNvPr id="39" name="ホームベース 45">
            <a:extLst>
              <a:ext uri="{FF2B5EF4-FFF2-40B4-BE49-F238E27FC236}">
                <a16:creationId xmlns:a16="http://schemas.microsoft.com/office/drawing/2014/main" id="{B9BD102C-6EB5-404A-8CEA-7B639804DDA2}"/>
              </a:ext>
            </a:extLst>
          </p:cNvPr>
          <p:cNvSpPr/>
          <p:nvPr/>
        </p:nvSpPr>
        <p:spPr>
          <a:xfrm>
            <a:off x="3335840" y="3348266"/>
            <a:ext cx="1443733" cy="952114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リマインド</a:t>
            </a:r>
            <a:endParaRPr lang="ja-JP" sz="1100">
              <a:solidFill>
                <a:schemeClr val="bg1"/>
              </a:solidFill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メールの送信</a:t>
            </a:r>
            <a:endParaRPr lang="ja-JP" sz="1100">
              <a:solidFill>
                <a:schemeClr val="bg1"/>
              </a:solidFill>
              <a:ea typeface="游ゴシック"/>
            </a:endParaRPr>
          </a:p>
        </p:txBody>
      </p:sp>
      <p:sp>
        <p:nvSpPr>
          <p:cNvPr id="45" name="ホームベース 49">
            <a:extLst>
              <a:ext uri="{FF2B5EF4-FFF2-40B4-BE49-F238E27FC236}">
                <a16:creationId xmlns:a16="http://schemas.microsoft.com/office/drawing/2014/main" id="{55D09B86-86E0-4303-AEE1-F71391F32481}"/>
              </a:ext>
            </a:extLst>
          </p:cNvPr>
          <p:cNvSpPr/>
          <p:nvPr/>
        </p:nvSpPr>
        <p:spPr>
          <a:xfrm>
            <a:off x="3337694" y="4515787"/>
            <a:ext cx="1444558" cy="945228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未回答者への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お声掛け</a:t>
            </a:r>
          </a:p>
        </p:txBody>
      </p:sp>
      <p:sp>
        <p:nvSpPr>
          <p:cNvPr id="48" name="ホームベース 49">
            <a:extLst>
              <a:ext uri="{FF2B5EF4-FFF2-40B4-BE49-F238E27FC236}">
                <a16:creationId xmlns:a16="http://schemas.microsoft.com/office/drawing/2014/main" id="{7FC911DF-4857-4CC9-B4F5-F960528B72A6}"/>
              </a:ext>
            </a:extLst>
          </p:cNvPr>
          <p:cNvSpPr/>
          <p:nvPr/>
        </p:nvSpPr>
        <p:spPr>
          <a:xfrm>
            <a:off x="6085964" y="4510964"/>
            <a:ext cx="1615913" cy="939908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次回実施予定日の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ご調整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53" name="ホームベース 49">
            <a:extLst>
              <a:ext uri="{FF2B5EF4-FFF2-40B4-BE49-F238E27FC236}">
                <a16:creationId xmlns:a16="http://schemas.microsoft.com/office/drawing/2014/main" id="{02EBBF3B-531A-4047-94CF-B7C5541D0D48}"/>
              </a:ext>
            </a:extLst>
          </p:cNvPr>
          <p:cNvSpPr/>
          <p:nvPr/>
        </p:nvSpPr>
        <p:spPr>
          <a:xfrm>
            <a:off x="6085084" y="3356058"/>
            <a:ext cx="1616796" cy="949577"/>
          </a:xfrm>
          <a:prstGeom prst="homePlate">
            <a:avLst>
              <a:gd name="adj" fmla="val 32311"/>
            </a:avLst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打ち手の検討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</a:rPr>
              <a:t>社内フィードバック</a:t>
            </a:r>
            <a:endParaRPr lang="en-US" altLang="ja-JP" sz="1100" b="1">
              <a:solidFill>
                <a:schemeClr val="bg1"/>
              </a:solidFill>
              <a:latin typeface="游ゴシック"/>
              <a:ea typeface="游ゴシック"/>
            </a:endParaRPr>
          </a:p>
        </p:txBody>
      </p:sp>
      <p:sp>
        <p:nvSpPr>
          <p:cNvPr id="3" name="ホームベース 28">
            <a:extLst>
              <a:ext uri="{FF2B5EF4-FFF2-40B4-BE49-F238E27FC236}">
                <a16:creationId xmlns:a16="http://schemas.microsoft.com/office/drawing/2014/main" id="{3B40B327-6BDE-5732-025F-6F23B7B29DBB}"/>
              </a:ext>
            </a:extLst>
          </p:cNvPr>
          <p:cNvSpPr/>
          <p:nvPr/>
        </p:nvSpPr>
        <p:spPr>
          <a:xfrm>
            <a:off x="7699365" y="3104552"/>
            <a:ext cx="1382667" cy="2604225"/>
          </a:xfrm>
          <a:prstGeom prst="homePlate">
            <a:avLst>
              <a:gd name="adj" fmla="val 32311"/>
            </a:avLst>
          </a:prstGeom>
          <a:solidFill>
            <a:srgbClr val="E76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100" b="1">
                <a:solidFill>
                  <a:schemeClr val="bg1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打ち手/施策の実施</a:t>
            </a:r>
            <a:endParaRPr lang="ja-JP" altLang="en-US" sz="1100" b="1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  <p:sp>
        <p:nvSpPr>
          <p:cNvPr id="4" name="正方形/長方形 44">
            <a:extLst>
              <a:ext uri="{FF2B5EF4-FFF2-40B4-BE49-F238E27FC236}">
                <a16:creationId xmlns:a16="http://schemas.microsoft.com/office/drawing/2014/main" id="{5A550121-9644-A951-6098-866840DE73CD}"/>
              </a:ext>
            </a:extLst>
          </p:cNvPr>
          <p:cNvSpPr>
            <a:spLocks noChangeAspect="1"/>
          </p:cNvSpPr>
          <p:nvPr/>
        </p:nvSpPr>
        <p:spPr>
          <a:xfrm>
            <a:off x="7696261" y="2554091"/>
            <a:ext cx="1383246" cy="314904"/>
          </a:xfrm>
          <a:prstGeom prst="rect">
            <a:avLst/>
          </a:prstGeom>
          <a:solidFill>
            <a:srgbClr val="CFD8DC"/>
          </a:solidFill>
          <a:ln w="6350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ja-JP" altLang="en-US" sz="1000" b="1">
                <a:solidFill>
                  <a:srgbClr val="37474F"/>
                </a:solidFill>
                <a:latin typeface="游ゴシック"/>
                <a:ea typeface="游ゴシック"/>
                <a:cs typeface="源真ゴシック Bold" panose="020B0602020203020207" pitchFamily="50" charset="-128"/>
              </a:rPr>
              <a:t>～次回配信日</a:t>
            </a:r>
            <a:endParaRPr lang="en-US" altLang="ja-JP" sz="1000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源真ゴシック Bold" panose="020B0602020203020207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4285336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ヒラギノ角ゴ ProN W3"/>
        <a:ea typeface="ヒラギノ角ゴ ProN W3"/>
        <a:cs typeface="ヒラギノ角ゴ ProN W3"/>
      </a:majorFont>
      <a:minorFont>
        <a:latin typeface="ヒラギノ角ゴ ProN W3"/>
        <a:ea typeface="ヒラギノ角ゴ ProN W3"/>
        <a:cs typeface="ヒラギノ角ゴ ProN W3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813893F6D81AB48BB10C77DC1E20B40" ma:contentTypeVersion="15" ma:contentTypeDescription="新しいドキュメントを作成します。" ma:contentTypeScope="" ma:versionID="b5289768072fb8c8ffb8b6243ba47278">
  <xsd:schema xmlns:xsd="http://www.w3.org/2001/XMLSchema" xmlns:xs="http://www.w3.org/2001/XMLSchema" xmlns:p="http://schemas.microsoft.com/office/2006/metadata/properties" xmlns:ns2="ddfcb2a4-36dc-48d1-adb4-25982a6caaf7" xmlns:ns3="816700fe-015a-4167-9299-e5144bbf8a7f" targetNamespace="http://schemas.microsoft.com/office/2006/metadata/properties" ma:root="true" ma:fieldsID="aada96f53edf87c574cc6deed4213df4" ns2:_="" ns3:_="">
    <xsd:import namespace="ddfcb2a4-36dc-48d1-adb4-25982a6caaf7"/>
    <xsd:import namespace="816700fe-015a-4167-9299-e5144bbf8a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cb2a4-36dc-48d1-adb4-25982a6caa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a3a9e2b4-bd26-462e-b1d1-efb57a7163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700fe-015a-4167-9299-e5144bbf8a7f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e958a0e-e018-4dde-8e50-8896eb0394e5}" ma:internalName="TaxCatchAll" ma:showField="CatchAllData" ma:web="816700fe-015a-4167-9299-e5144bbf8a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6700fe-015a-4167-9299-e5144bbf8a7f" xsi:nil="true"/>
    <lcf76f155ced4ddcb4097134ff3c332f xmlns="ddfcb2a4-36dc-48d1-adb4-25982a6caaf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9C86395-B643-4358-8426-502A5AE41DD5}">
  <ds:schemaRefs>
    <ds:schemaRef ds:uri="816700fe-015a-4167-9299-e5144bbf8a7f"/>
    <ds:schemaRef ds:uri="ddfcb2a4-36dc-48d1-adb4-25982a6caaf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BA1BB46-2792-4C47-8350-FDDEF82375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3E6014-D131-4C9A-BCD4-F9CA895A83D6}">
  <ds:schemaRefs>
    <ds:schemaRef ds:uri="816700fe-015a-4167-9299-e5144bbf8a7f"/>
    <ds:schemaRef ds:uri="ddfcb2a4-36dc-48d1-adb4-25982a6caaf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</TotalTime>
  <Words>856</Words>
  <Application>Microsoft Office PowerPoint</Application>
  <PresentationFormat>画面に合わせる (4:3)</PresentationFormat>
  <Paragraphs>164</Paragraphs>
  <Slides>11</Slides>
  <Notes>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1</vt:i4>
      </vt:variant>
    </vt:vector>
  </HeadingPairs>
  <TitlesOfParts>
    <vt:vector size="22" baseType="lpstr">
      <vt:lpstr>Helvetica Neue Light</vt:lpstr>
      <vt:lpstr>Helvetica Neue Thin</vt:lpstr>
      <vt:lpstr>HGMaruGothicMPRO</vt:lpstr>
      <vt:lpstr>ヒラギノ角ゴ ProN W3</vt:lpstr>
      <vt:lpstr>ヒラギノ角ゴ ProN W6</vt:lpstr>
      <vt:lpstr>游ゴシック</vt:lpstr>
      <vt:lpstr>Arial</vt:lpstr>
      <vt:lpstr>Calibri</vt:lpstr>
      <vt:lpstr>Helvetica</vt:lpstr>
      <vt:lpstr>White</vt:lpstr>
      <vt:lpstr>think-cell スライド</vt:lpstr>
      <vt:lpstr>４．配信設定</vt:lpstr>
      <vt:lpstr>導入準備～配信までにご対応いただくこと～</vt:lpstr>
      <vt:lpstr>組織サーベイの配信設定</vt:lpstr>
      <vt:lpstr>組織サーベイの配信設定</vt:lpstr>
      <vt:lpstr>組織サーベイの配信設定</vt:lpstr>
      <vt:lpstr>追加質問</vt:lpstr>
      <vt:lpstr>追加質問</vt:lpstr>
      <vt:lpstr>（参考）実施方法の違い</vt:lpstr>
      <vt:lpstr>運用スケジュール</vt:lpstr>
      <vt:lpstr>配信準備についてご注意を！</vt:lpstr>
      <vt:lpstr>４．配信設定　🙌完了🙌  ⇨５．回答催促・リマイン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橋本　経徹</dc:creator>
  <cp:lastModifiedBy>青木 萌百</cp:lastModifiedBy>
  <cp:revision>395</cp:revision>
  <dcterms:modified xsi:type="dcterms:W3CDTF">2024-10-08T08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13893F6D81AB48BB10C77DC1E20B40</vt:lpwstr>
  </property>
  <property fmtid="{D5CDD505-2E9C-101B-9397-08002B2CF9AE}" pid="3" name="MediaServiceImageTags">
    <vt:lpwstr/>
  </property>
</Properties>
</file>